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48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ags/tag49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9.xml" ContentType="application/vnd.openxmlformats-officedocument.theme+xml"/>
  <Override PartName="/ppt/tags/tag5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0.xml" ContentType="application/vnd.openxmlformats-officedocument.theme+xml"/>
  <Override PartName="/ppt/tags/tag51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12" r:id="rId6"/>
    <p:sldMasterId id="2147484527" r:id="rId7"/>
    <p:sldMasterId id="2147484542" r:id="rId8"/>
    <p:sldMasterId id="2147484641" r:id="rId9"/>
    <p:sldMasterId id="2147484661" r:id="rId10"/>
    <p:sldMasterId id="2147484674" r:id="rId11"/>
    <p:sldMasterId id="2147484716" r:id="rId12"/>
    <p:sldMasterId id="2147484790" r:id="rId13"/>
    <p:sldMasterId id="2147484805" r:id="rId14"/>
    <p:sldMasterId id="2147484819" r:id="rId15"/>
    <p:sldMasterId id="2147484840" r:id="rId16"/>
  </p:sldMasterIdLst>
  <p:notesMasterIdLst>
    <p:notesMasterId r:id="rId35"/>
  </p:notesMasterIdLst>
  <p:handoutMasterIdLst>
    <p:handoutMasterId r:id="rId36"/>
  </p:handoutMasterIdLst>
  <p:sldIdLst>
    <p:sldId id="875" r:id="rId17"/>
    <p:sldId id="878" r:id="rId18"/>
    <p:sldId id="880" r:id="rId19"/>
    <p:sldId id="892" r:id="rId20"/>
    <p:sldId id="900" r:id="rId21"/>
    <p:sldId id="901" r:id="rId22"/>
    <p:sldId id="898" r:id="rId23"/>
    <p:sldId id="877" r:id="rId24"/>
    <p:sldId id="889" r:id="rId25"/>
    <p:sldId id="871" r:id="rId26"/>
    <p:sldId id="890" r:id="rId27"/>
    <p:sldId id="876" r:id="rId28"/>
    <p:sldId id="870" r:id="rId29"/>
    <p:sldId id="895" r:id="rId30"/>
    <p:sldId id="896" r:id="rId31"/>
    <p:sldId id="897" r:id="rId32"/>
    <p:sldId id="902" r:id="rId33"/>
    <p:sldId id="893" r:id="rId34"/>
  </p:sldIdLst>
  <p:sldSz cx="12192000" cy="6858000"/>
  <p:notesSz cx="6805613" cy="9944100"/>
  <p:custDataLst>
    <p:tags r:id="rId3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rgbClr val="00204E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405" userDrawn="1">
          <p15:clr>
            <a:srgbClr val="A4A3A4"/>
          </p15:clr>
        </p15:guide>
        <p15:guide id="2" pos="21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rman, Sarah" initials="WS" lastIdx="2" clrIdx="0">
    <p:extLst>
      <p:ext uri="{19B8F6BF-5375-455C-9EA6-DF929625EA0E}">
        <p15:presenceInfo xmlns:p15="http://schemas.microsoft.com/office/powerpoint/2012/main" userId="S-1-5-21-4183519483-3059463924-2091044566-90662" providerId="AD"/>
      </p:ext>
    </p:extLst>
  </p:cmAuthor>
  <p:cmAuthor id="2" name="Leigh, Warren" initials="LW" lastIdx="1" clrIdx="1">
    <p:extLst>
      <p:ext uri="{19B8F6BF-5375-455C-9EA6-DF929625EA0E}">
        <p15:presenceInfo xmlns:p15="http://schemas.microsoft.com/office/powerpoint/2012/main" userId="S-1-5-21-4183519483-3059463924-2091044566-100614" providerId="AD"/>
      </p:ext>
    </p:extLst>
  </p:cmAuthor>
  <p:cmAuthor id="3" name="Dave-Shah, Rakhee" initials="DR" lastIdx="3" clrIdx="2">
    <p:extLst>
      <p:ext uri="{19B8F6BF-5375-455C-9EA6-DF929625EA0E}">
        <p15:presenceInfo xmlns:p15="http://schemas.microsoft.com/office/powerpoint/2012/main" userId="S-1-5-21-4183519483-3059463924-2091044566-86955" providerId="AD"/>
      </p:ext>
    </p:extLst>
  </p:cmAuthor>
  <p:cmAuthor id="4" name="APJ Billington" initials="" lastIdx="1" clrIdx="3"/>
  <p:cmAuthor id="5" name="Bahooshy, Stephen" initials="BS" lastIdx="1" clrIdx="4">
    <p:extLst>
      <p:ext uri="{19B8F6BF-5375-455C-9EA6-DF929625EA0E}">
        <p15:presenceInfo xmlns:p15="http://schemas.microsoft.com/office/powerpoint/2012/main" userId="S-1-5-21-4183519483-3059463924-2091044566-952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4C3E"/>
    <a:srgbClr val="EEF1F2"/>
    <a:srgbClr val="FFFFFF"/>
    <a:srgbClr val="8CADAE"/>
    <a:srgbClr val="CCFFFF"/>
    <a:srgbClr val="CCECFF"/>
    <a:srgbClr val="C2DCF4"/>
    <a:srgbClr val="C5C5C5"/>
    <a:srgbClr val="84006F"/>
    <a:srgbClr val="B400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1964821-C9D3-43A8-B399-BD1C8AAC41E3}" v="44" dt="2019-05-20T10:49:49.676"/>
  </p1510:revLst>
</p1510:revInfo>
</file>

<file path=ppt/tableStyles.xml><?xml version="1.0" encoding="utf-8"?>
<a:tblStyleLst xmlns:a="http://schemas.openxmlformats.org/drawingml/2006/main" def="{1FECB4D8-DB02-4DC6-A0A2-4F2EBAE1DC9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82" autoAdjust="0"/>
    <p:restoredTop sz="86325" autoAdjust="0"/>
  </p:normalViewPr>
  <p:slideViewPr>
    <p:cSldViewPr snapToGrid="0">
      <p:cViewPr>
        <p:scale>
          <a:sx n="70" d="100"/>
          <a:sy n="70" d="100"/>
        </p:scale>
        <p:origin x="782" y="197"/>
      </p:cViewPr>
      <p:guideLst>
        <p:guide orient="horz" pos="116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405"/>
        <p:guide pos="212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Master" Target="slideMasters/slideMaster8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12" Type="http://schemas.openxmlformats.org/officeDocument/2006/relationships/slideMaster" Target="slideMasters/slideMaster7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Master" Target="slideMasters/slideMaster6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Master" Target="slideMasters/slideMaster10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handoutMaster" Target="handoutMasters/handoutMaster1.xml"/><Relationship Id="rId57" Type="http://schemas.microsoft.com/office/2015/10/relationships/revisionInfo" Target="revisionInfo.xml"/><Relationship Id="rId10" Type="http://schemas.openxmlformats.org/officeDocument/2006/relationships/slideMaster" Target="slideMasters/slideMaster5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Master" Target="slideMasters/slideMaster9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notesMaster" Target="notesMasters/notesMaster1.xml"/><Relationship Id="rId56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rman, Sarah" userId="S::093060@croydon.gov.uk::8fe8745b-66ab-4633-a12d-af5c80ea93cc" providerId="AD" clId="Web-{7E7796F2-8B49-F8E8-864E-BAF0D75E6958}"/>
    <pc:docChg chg="addSld delSld modSld sldOrd">
      <pc:chgData name="Warman, Sarah" userId="S::093060@croydon.gov.uk::8fe8745b-66ab-4633-a12d-af5c80ea93cc" providerId="AD" clId="Web-{7E7796F2-8B49-F8E8-864E-BAF0D75E6958}" dt="2019-05-16T06:41:30.029" v="1495" actId="20577"/>
      <pc:docMkLst>
        <pc:docMk/>
      </pc:docMkLst>
      <pc:sldChg chg="modSp">
        <pc:chgData name="Warman, Sarah" userId="S::093060@croydon.gov.uk::8fe8745b-66ab-4633-a12d-af5c80ea93cc" providerId="AD" clId="Web-{7E7796F2-8B49-F8E8-864E-BAF0D75E6958}" dt="2019-05-16T06:12:40.364" v="144" actId="20577"/>
        <pc:sldMkLst>
          <pc:docMk/>
          <pc:sldMk cId="4040573078" sldId="843"/>
        </pc:sldMkLst>
        <pc:spChg chg="mod">
          <ac:chgData name="Warman, Sarah" userId="S::093060@croydon.gov.uk::8fe8745b-66ab-4633-a12d-af5c80ea93cc" providerId="AD" clId="Web-{7E7796F2-8B49-F8E8-864E-BAF0D75E6958}" dt="2019-05-16T06:12:40.364" v="144" actId="20577"/>
          <ac:spMkLst>
            <pc:docMk/>
            <pc:sldMk cId="4040573078" sldId="843"/>
            <ac:spMk id="12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14:39.426" v="248" actId="20577"/>
        <pc:sldMkLst>
          <pc:docMk/>
          <pc:sldMk cId="241086178" sldId="844"/>
        </pc:sldMkLst>
        <pc:spChg chg="mod">
          <ac:chgData name="Warman, Sarah" userId="S::093060@croydon.gov.uk::8fe8745b-66ab-4633-a12d-af5c80ea93cc" providerId="AD" clId="Web-{7E7796F2-8B49-F8E8-864E-BAF0D75E6958}" dt="2019-05-16T06:13:10.754" v="160" actId="20577"/>
          <ac:spMkLst>
            <pc:docMk/>
            <pc:sldMk cId="241086178" sldId="844"/>
            <ac:spMk id="3" creationId="{5BD5EBC0-3539-4FF0-8889-0A9E3378A15D}"/>
          </ac:spMkLst>
        </pc:spChg>
        <pc:spChg chg="mod">
          <ac:chgData name="Warman, Sarah" userId="S::093060@croydon.gov.uk::8fe8745b-66ab-4633-a12d-af5c80ea93cc" providerId="AD" clId="Web-{7E7796F2-8B49-F8E8-864E-BAF0D75E6958}" dt="2019-05-16T06:14:39.426" v="248" actId="20577"/>
          <ac:spMkLst>
            <pc:docMk/>
            <pc:sldMk cId="241086178" sldId="844"/>
            <ac:spMk id="4" creationId="{6935F7E7-9836-4F41-A6FA-4BEF88107015}"/>
          </ac:spMkLst>
        </pc:spChg>
      </pc:sldChg>
      <pc:sldChg chg="del">
        <pc:chgData name="Warman, Sarah" userId="S::093060@croydon.gov.uk::8fe8745b-66ab-4633-a12d-af5c80ea93cc" providerId="AD" clId="Web-{7E7796F2-8B49-F8E8-864E-BAF0D75E6958}" dt="2019-05-16T06:40:51.216" v="1439"/>
        <pc:sldMkLst>
          <pc:docMk/>
          <pc:sldMk cId="3759943738" sldId="846"/>
        </pc:sldMkLst>
      </pc:sldChg>
      <pc:sldChg chg="addSp modSp">
        <pc:chgData name="Warman, Sarah" userId="S::093060@croydon.gov.uk::8fe8745b-66ab-4633-a12d-af5c80ea93cc" providerId="AD" clId="Web-{7E7796F2-8B49-F8E8-864E-BAF0D75E6958}" dt="2019-05-16T06:18:34.222" v="361" actId="20577"/>
        <pc:sldMkLst>
          <pc:docMk/>
          <pc:sldMk cId="3029233649" sldId="847"/>
        </pc:sldMkLst>
        <pc:spChg chg="add mod">
          <ac:chgData name="Warman, Sarah" userId="S::093060@croydon.gov.uk::8fe8745b-66ab-4633-a12d-af5c80ea93cc" providerId="AD" clId="Web-{7E7796F2-8B49-F8E8-864E-BAF0D75E6958}" dt="2019-05-16T06:18:23.909" v="360" actId="14100"/>
          <ac:spMkLst>
            <pc:docMk/>
            <pc:sldMk cId="3029233649" sldId="847"/>
            <ac:spMk id="2" creationId="{E13C09A2-BF22-408E-808F-4C571975810D}"/>
          </ac:spMkLst>
        </pc:spChg>
        <pc:spChg chg="mod">
          <ac:chgData name="Warman, Sarah" userId="S::093060@croydon.gov.uk::8fe8745b-66ab-4633-a12d-af5c80ea93cc" providerId="AD" clId="Web-{7E7796F2-8B49-F8E8-864E-BAF0D75E6958}" dt="2019-05-16T06:17:50.831" v="356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Warman, Sarah" userId="S::093060@croydon.gov.uk::8fe8745b-66ab-4633-a12d-af5c80ea93cc" providerId="AD" clId="Web-{7E7796F2-8B49-F8E8-864E-BAF0D75E6958}" dt="2019-05-16T06:18:34.222" v="361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">
        <pc:chgData name="Warman, Sarah" userId="S::093060@croydon.gov.uk::8fe8745b-66ab-4633-a12d-af5c80ea93cc" providerId="AD" clId="Web-{7E7796F2-8B49-F8E8-864E-BAF0D75E6958}" dt="2019-05-16T06:21:33.065" v="483" actId="20577"/>
        <pc:sldMkLst>
          <pc:docMk/>
          <pc:sldMk cId="3028281085" sldId="848"/>
        </pc:sldMkLst>
        <pc:spChg chg="mod">
          <ac:chgData name="Warman, Sarah" userId="S::093060@croydon.gov.uk::8fe8745b-66ab-4633-a12d-af5c80ea93cc" providerId="AD" clId="Web-{7E7796F2-8B49-F8E8-864E-BAF0D75E6958}" dt="2019-05-16T06:18:52.206" v="366" actId="20577"/>
          <ac:spMkLst>
            <pc:docMk/>
            <pc:sldMk cId="3028281085" sldId="848"/>
            <ac:spMk id="3" creationId="{B8FCC916-B10E-45A8-A12D-2B791F6E9D19}"/>
          </ac:spMkLst>
        </pc:spChg>
        <pc:spChg chg="add del mod">
          <ac:chgData name="Warman, Sarah" userId="S::093060@croydon.gov.uk::8fe8745b-66ab-4633-a12d-af5c80ea93cc" providerId="AD" clId="Web-{7E7796F2-8B49-F8E8-864E-BAF0D75E6958}" dt="2019-05-16T06:21:33.065" v="483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21:56.268" v="488" actId="1076"/>
        <pc:sldMkLst>
          <pc:docMk/>
          <pc:sldMk cId="1734698269" sldId="850"/>
        </pc:sldMkLst>
        <pc:spChg chg="mod">
          <ac:chgData name="Warman, Sarah" userId="S::093060@croydon.gov.uk::8fe8745b-66ab-4633-a12d-af5c80ea93cc" providerId="AD" clId="Web-{7E7796F2-8B49-F8E8-864E-BAF0D75E6958}" dt="2019-05-16T06:21:56.268" v="488" actId="1076"/>
          <ac:spMkLst>
            <pc:docMk/>
            <pc:sldMk cId="1734698269" sldId="850"/>
            <ac:spMk id="3" creationId="{00000000-0000-0000-0000-000000000000}"/>
          </ac:spMkLst>
        </pc:spChg>
        <pc:graphicFrameChg chg="mod modGraphic">
          <ac:chgData name="Warman, Sarah" userId="S::093060@croydon.gov.uk::8fe8745b-66ab-4633-a12d-af5c80ea93cc" providerId="AD" clId="Web-{7E7796F2-8B49-F8E8-864E-BAF0D75E6958}" dt="2019-05-16T06:21:51.580" v="487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7E7796F2-8B49-F8E8-864E-BAF0D75E6958}" dt="2019-05-16T06:37:27.639" v="1260"/>
        <pc:sldMkLst>
          <pc:docMk/>
          <pc:sldMk cId="2948448651" sldId="852"/>
        </pc:sldMkLst>
        <pc:graphicFrameChg chg="mod modGraphic">
          <ac:chgData name="Warman, Sarah" userId="S::093060@croydon.gov.uk::8fe8745b-66ab-4633-a12d-af5c80ea93cc" providerId="AD" clId="Web-{7E7796F2-8B49-F8E8-864E-BAF0D75E6958}" dt="2019-05-16T06:37:27.639" v="1260"/>
          <ac:graphicFrameMkLst>
            <pc:docMk/>
            <pc:sldMk cId="2948448651" sldId="852"/>
            <ac:graphicFrameMk id="6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7E7796F2-8B49-F8E8-864E-BAF0D75E6958}" dt="2019-05-16T06:23:28.283" v="495" actId="20577"/>
        <pc:sldMkLst>
          <pc:docMk/>
          <pc:sldMk cId="777089977" sldId="853"/>
        </pc:sldMkLst>
        <pc:spChg chg="mod">
          <ac:chgData name="Warman, Sarah" userId="S::093060@croydon.gov.uk::8fe8745b-66ab-4633-a12d-af5c80ea93cc" providerId="AD" clId="Web-{7E7796F2-8B49-F8E8-864E-BAF0D75E6958}" dt="2019-05-16T06:23:28.283" v="495" actId="20577"/>
          <ac:spMkLst>
            <pc:docMk/>
            <pc:sldMk cId="777089977" sldId="853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7E7796F2-8B49-F8E8-864E-BAF0D75E6958}" dt="2019-05-16T06:40:15.873" v="1434"/>
        <pc:sldMkLst>
          <pc:docMk/>
          <pc:sldMk cId="774521525" sldId="855"/>
        </pc:sldMkLst>
        <pc:graphicFrameChg chg="mod modGraphic">
          <ac:chgData name="Warman, Sarah" userId="S::093060@croydon.gov.uk::8fe8745b-66ab-4633-a12d-af5c80ea93cc" providerId="AD" clId="Web-{7E7796F2-8B49-F8E8-864E-BAF0D75E6958}" dt="2019-05-16T06:40:15.873" v="1434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  <pc:sldChg chg="modSp add replId">
        <pc:chgData name="Warman, Sarah" userId="S::093060@croydon.gov.uk::8fe8745b-66ab-4633-a12d-af5c80ea93cc" providerId="AD" clId="Web-{7E7796F2-8B49-F8E8-864E-BAF0D75E6958}" dt="2019-05-16T06:37:01.515" v="1170" actId="20577"/>
        <pc:sldMkLst>
          <pc:docMk/>
          <pc:sldMk cId="464678197" sldId="858"/>
        </pc:sldMkLst>
        <pc:spChg chg="mod">
          <ac:chgData name="Warman, Sarah" userId="S::093060@croydon.gov.uk::8fe8745b-66ab-4633-a12d-af5c80ea93cc" providerId="AD" clId="Web-{7E7796F2-8B49-F8E8-864E-BAF0D75E6958}" dt="2019-05-16T06:32:51.500" v="530" actId="20577"/>
          <ac:spMkLst>
            <pc:docMk/>
            <pc:sldMk cId="464678197" sldId="858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7E7796F2-8B49-F8E8-864E-BAF0D75E6958}" dt="2019-05-16T06:37:01.515" v="1170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33:58.079" v="590" actId="20577"/>
        <pc:sldMkLst>
          <pc:docMk/>
          <pc:sldMk cId="2812899102" sldId="859"/>
        </pc:sldMkLst>
        <pc:spChg chg="mod">
          <ac:chgData name="Warman, Sarah" userId="S::093060@croydon.gov.uk::8fe8745b-66ab-4633-a12d-af5c80ea93cc" providerId="AD" clId="Web-{7E7796F2-8B49-F8E8-864E-BAF0D75E6958}" dt="2019-05-16T06:33:57.796" v="589" actId="20577"/>
          <ac:spMkLst>
            <pc:docMk/>
            <pc:sldMk cId="2812899102" sldId="859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7E7796F2-8B49-F8E8-864E-BAF0D75E6958}" dt="2019-05-16T06:33:58.079" v="590" actId="20577"/>
          <ac:spMkLst>
            <pc:docMk/>
            <pc:sldMk cId="2812899102" sldId="859"/>
            <ac:spMk id="3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33:46.281" v="588" actId="20577"/>
        <pc:sldMkLst>
          <pc:docMk/>
          <pc:sldMk cId="4034472895" sldId="860"/>
        </pc:sldMkLst>
        <pc:spChg chg="mod">
          <ac:chgData name="Warman, Sarah" userId="S::093060@croydon.gov.uk::8fe8745b-66ab-4633-a12d-af5c80ea93cc" providerId="AD" clId="Web-{7E7796F2-8B49-F8E8-864E-BAF0D75E6958}" dt="2019-05-16T06:33:46.281" v="588" actId="20577"/>
          <ac:spMkLst>
            <pc:docMk/>
            <pc:sldMk cId="4034472895" sldId="860"/>
            <ac:spMk id="2" creationId="{8845CE91-1DCF-480D-AF7B-599FDAB39CC4}"/>
          </ac:spMkLst>
        </pc:spChg>
      </pc:sldChg>
      <pc:sldChg chg="modSp add ord replId">
        <pc:chgData name="Warman, Sarah" userId="S::093060@croydon.gov.uk::8fe8745b-66ab-4633-a12d-af5c80ea93cc" providerId="AD" clId="Web-{7E7796F2-8B49-F8E8-864E-BAF0D75E6958}" dt="2019-05-16T06:35:56.233" v="1021" actId="20577"/>
        <pc:sldMkLst>
          <pc:docMk/>
          <pc:sldMk cId="1530622509" sldId="861"/>
        </pc:sldMkLst>
        <pc:spChg chg="mod">
          <ac:chgData name="Warman, Sarah" userId="S::093060@croydon.gov.uk::8fe8745b-66ab-4633-a12d-af5c80ea93cc" providerId="AD" clId="Web-{7E7796F2-8B49-F8E8-864E-BAF0D75E6958}" dt="2019-05-16T06:34:58.312" v="657" actId="20577"/>
          <ac:spMkLst>
            <pc:docMk/>
            <pc:sldMk cId="1530622509" sldId="861"/>
            <ac:spMk id="2" creationId="{00000000-0000-0000-0000-000000000000}"/>
          </ac:spMkLst>
        </pc:spChg>
        <pc:spChg chg="mod">
          <ac:chgData name="Warman, Sarah" userId="S::093060@croydon.gov.uk::8fe8745b-66ab-4633-a12d-af5c80ea93cc" providerId="AD" clId="Web-{7E7796F2-8B49-F8E8-864E-BAF0D75E6958}" dt="2019-05-16T06:35:56.233" v="1021" actId="20577"/>
          <ac:spMkLst>
            <pc:docMk/>
            <pc:sldMk cId="1530622509" sldId="861"/>
            <ac:spMk id="12" creationId="{00000000-0000-0000-0000-000000000000}"/>
          </ac:spMkLst>
        </pc:spChg>
      </pc:sldChg>
      <pc:sldChg chg="modSp add replId">
        <pc:chgData name="Warman, Sarah" userId="S::093060@croydon.gov.uk::8fe8745b-66ab-4633-a12d-af5c80ea93cc" providerId="AD" clId="Web-{7E7796F2-8B49-F8E8-864E-BAF0D75E6958}" dt="2019-05-16T06:41:30.029" v="1495" actId="20577"/>
        <pc:sldMkLst>
          <pc:docMk/>
          <pc:sldMk cId="377194870" sldId="862"/>
        </pc:sldMkLst>
        <pc:spChg chg="mod">
          <ac:chgData name="Warman, Sarah" userId="S::093060@croydon.gov.uk::8fe8745b-66ab-4633-a12d-af5c80ea93cc" providerId="AD" clId="Web-{7E7796F2-8B49-F8E8-864E-BAF0D75E6958}" dt="2019-05-16T06:41:30.029" v="1495" actId="20577"/>
          <ac:spMkLst>
            <pc:docMk/>
            <pc:sldMk cId="377194870" sldId="862"/>
            <ac:spMk id="2" creationId="{00000000-0000-0000-0000-000000000000}"/>
          </ac:spMkLst>
        </pc:spChg>
      </pc:sldChg>
      <pc:sldChg chg="add del replId">
        <pc:chgData name="Warman, Sarah" userId="S::093060@croydon.gov.uk::8fe8745b-66ab-4633-a12d-af5c80ea93cc" providerId="AD" clId="Web-{7E7796F2-8B49-F8E8-864E-BAF0D75E6958}" dt="2019-05-16T06:40:55.654" v="1441"/>
        <pc:sldMkLst>
          <pc:docMk/>
          <pc:sldMk cId="2898115349" sldId="863"/>
        </pc:sldMkLst>
      </pc:sldChg>
      <pc:sldChg chg="modSp add replId">
        <pc:chgData name="Warman, Sarah" userId="S::093060@croydon.gov.uk::8fe8745b-66ab-4633-a12d-af5c80ea93cc" providerId="AD" clId="Web-{7E7796F2-8B49-F8E8-864E-BAF0D75E6958}" dt="2019-05-16T06:41:11.732" v="1459" actId="20577"/>
        <pc:sldMkLst>
          <pc:docMk/>
          <pc:sldMk cId="3796351993" sldId="863"/>
        </pc:sldMkLst>
        <pc:spChg chg="mod">
          <ac:chgData name="Warman, Sarah" userId="S::093060@croydon.gov.uk::8fe8745b-66ab-4633-a12d-af5c80ea93cc" providerId="AD" clId="Web-{7E7796F2-8B49-F8E8-864E-BAF0D75E6958}" dt="2019-05-16T06:41:11.732" v="1459" actId="20577"/>
          <ac:spMkLst>
            <pc:docMk/>
            <pc:sldMk cId="3796351993" sldId="863"/>
            <ac:spMk id="2" creationId="{951500AA-22E8-4C43-945A-BA9517550FDA}"/>
          </ac:spMkLst>
        </pc:spChg>
      </pc:sldChg>
    </pc:docChg>
  </pc:docChgLst>
  <pc:docChgLst>
    <pc:chgData name="Butt, Henry" userId="S::097444@croydon.gov.uk::5ded9784-7b69-4809-b6c2-b1719bef27bf" providerId="AD" clId="Web-{6E7FCBF0-F625-61D3-32B2-1B68BF8E2893}"/>
    <pc:docChg chg="modSld">
      <pc:chgData name="Butt, Henry" userId="S::097444@croydon.gov.uk::5ded9784-7b69-4809-b6c2-b1719bef27bf" providerId="AD" clId="Web-{6E7FCBF0-F625-61D3-32B2-1B68BF8E2893}" dt="2019-05-13T10:15:39.965" v="115" actId="1076"/>
      <pc:docMkLst>
        <pc:docMk/>
      </pc:docMkLst>
      <pc:sldChg chg="modSp">
        <pc:chgData name="Butt, Henry" userId="S::097444@croydon.gov.uk::5ded9784-7b69-4809-b6c2-b1719bef27bf" providerId="AD" clId="Web-{6E7FCBF0-F625-61D3-32B2-1B68BF8E2893}" dt="2019-05-13T10:15:39.965" v="115" actId="1076"/>
        <pc:sldMkLst>
          <pc:docMk/>
          <pc:sldMk cId="241086178" sldId="844"/>
        </pc:sldMkLst>
        <pc:spChg chg="mod">
          <ac:chgData name="Butt, Henry" userId="S::097444@croydon.gov.uk::5ded9784-7b69-4809-b6c2-b1719bef27bf" providerId="AD" clId="Web-{6E7FCBF0-F625-61D3-32B2-1B68BF8E2893}" dt="2019-05-13T09:33:16.702" v="40" actId="20577"/>
          <ac:spMkLst>
            <pc:docMk/>
            <pc:sldMk cId="241086178" sldId="844"/>
            <ac:spMk id="3" creationId="{5BD5EBC0-3539-4FF0-8889-0A9E3378A15D}"/>
          </ac:spMkLst>
        </pc:spChg>
        <pc:spChg chg="mod">
          <ac:chgData name="Butt, Henry" userId="S::097444@croydon.gov.uk::5ded9784-7b69-4809-b6c2-b1719bef27bf" providerId="AD" clId="Web-{6E7FCBF0-F625-61D3-32B2-1B68BF8E2893}" dt="2019-05-13T10:15:39.965" v="115" actId="1076"/>
          <ac:spMkLst>
            <pc:docMk/>
            <pc:sldMk cId="241086178" sldId="844"/>
            <ac:spMk id="4" creationId="{6935F7E7-9836-4F41-A6FA-4BEF88107015}"/>
          </ac:spMkLst>
        </pc:spChg>
      </pc:sldChg>
      <pc:sldChg chg="modSp">
        <pc:chgData name="Butt, Henry" userId="S::097444@croydon.gov.uk::5ded9784-7b69-4809-b6c2-b1719bef27bf" providerId="AD" clId="Web-{6E7FCBF0-F625-61D3-32B2-1B68BF8E2893}" dt="2019-05-13T09:36:14.701" v="95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6E7FCBF0-F625-61D3-32B2-1B68BF8E2893}" dt="2019-05-13T09:36:14.701" v="95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Butt, Henry" userId="S::097444@croydon.gov.uk::5ded9784-7b69-4809-b6c2-b1719bef27bf" providerId="AD" clId="Web-{6E7FCBF0-F625-61D3-32B2-1B68BF8E2893}" dt="2019-05-13T09:33:10.718" v="37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">
        <pc:chgData name="Butt, Henry" userId="S::097444@croydon.gov.uk::5ded9784-7b69-4809-b6c2-b1719bef27bf" providerId="AD" clId="Web-{6E7FCBF0-F625-61D3-32B2-1B68BF8E2893}" dt="2019-05-13T09:36:54.951" v="112" actId="20577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6E7FCBF0-F625-61D3-32B2-1B68BF8E2893}" dt="2019-05-13T09:35:12.092" v="85" actId="20577"/>
          <ac:spMkLst>
            <pc:docMk/>
            <pc:sldMk cId="3028281085" sldId="848"/>
            <ac:spMk id="2" creationId="{C893FF65-77ED-4074-BEB2-FBFBE316FBA5}"/>
          </ac:spMkLst>
        </pc:spChg>
        <pc:spChg chg="add mod">
          <ac:chgData name="Butt, Henry" userId="S::097444@croydon.gov.uk::5ded9784-7b69-4809-b6c2-b1719bef27bf" providerId="AD" clId="Web-{6E7FCBF0-F625-61D3-32B2-1B68BF8E2893}" dt="2019-05-13T09:34:53.811" v="83" actId="14100"/>
          <ac:spMkLst>
            <pc:docMk/>
            <pc:sldMk cId="3028281085" sldId="848"/>
            <ac:spMk id="3" creationId="{B8FCC916-B10E-45A8-A12D-2B791F6E9D19}"/>
          </ac:spMkLst>
        </pc:spChg>
        <pc:spChg chg="add del mod">
          <ac:chgData name="Butt, Henry" userId="S::097444@croydon.gov.uk::5ded9784-7b69-4809-b6c2-b1719bef27bf" providerId="AD" clId="Web-{6E7FCBF0-F625-61D3-32B2-1B68BF8E2893}" dt="2019-05-13T09:35:15.342" v="86" actId="1076"/>
          <ac:spMkLst>
            <pc:docMk/>
            <pc:sldMk cId="3028281085" sldId="848"/>
            <ac:spMk id="5" creationId="{AB7D1BCC-E5EE-4F45-8F03-5970B4CB7153}"/>
          </ac:spMkLst>
        </pc:spChg>
        <pc:spChg chg="mod">
          <ac:chgData name="Butt, Henry" userId="S::097444@croydon.gov.uk::5ded9784-7b69-4809-b6c2-b1719bef27bf" providerId="AD" clId="Web-{6E7FCBF0-F625-61D3-32B2-1B68BF8E2893}" dt="2019-05-13T09:36:54.951" v="112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Talbot, Alex" userId="S::097445@croydon.gov.uk::2e359fc2-acc1-4d79-bd57-d83855c21d06" providerId="AD" clId="Web-{68EB3966-20FF-579F-FD38-C300E1463669}"/>
    <pc:docChg chg="addSld delSld modSld sldOrd">
      <pc:chgData name="Talbot, Alex" userId="S::097445@croydon.gov.uk::2e359fc2-acc1-4d79-bd57-d83855c21d06" providerId="AD" clId="Web-{68EB3966-20FF-579F-FD38-C300E1463669}" dt="2019-05-17T15:37:59.139" v="18"/>
      <pc:docMkLst>
        <pc:docMk/>
      </pc:docMkLst>
      <pc:sldChg chg="modSp">
        <pc:chgData name="Talbot, Alex" userId="S::097445@croydon.gov.uk::2e359fc2-acc1-4d79-bd57-d83855c21d06" providerId="AD" clId="Web-{68EB3966-20FF-579F-FD38-C300E1463669}" dt="2019-05-17T15:35:46.921" v="10"/>
        <pc:sldMkLst>
          <pc:docMk/>
          <pc:sldMk cId="2078240094" sldId="851"/>
        </pc:sldMkLst>
        <pc:graphicFrameChg chg="mod modGraphic">
          <ac:chgData name="Talbot, Alex" userId="S::097445@croydon.gov.uk::2e359fc2-acc1-4d79-bd57-d83855c21d06" providerId="AD" clId="Web-{68EB3966-20FF-579F-FD38-C300E1463669}" dt="2019-05-17T15:35:46.921" v="10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Talbot, Alex" userId="S::097445@croydon.gov.uk::2e359fc2-acc1-4d79-bd57-d83855c21d06" providerId="AD" clId="Web-{68EB3966-20FF-579F-FD38-C300E1463669}" dt="2019-05-17T15:27:50.688" v="8" actId="20577"/>
        <pc:sldMkLst>
          <pc:docMk/>
          <pc:sldMk cId="774521525" sldId="855"/>
        </pc:sldMkLst>
        <pc:spChg chg="mod">
          <ac:chgData name="Talbot, Alex" userId="S::097445@croydon.gov.uk::2e359fc2-acc1-4d79-bd57-d83855c21d06" providerId="AD" clId="Web-{68EB3966-20FF-579F-FD38-C300E1463669}" dt="2019-05-17T15:27:50.688" v="8" actId="20577"/>
          <ac:spMkLst>
            <pc:docMk/>
            <pc:sldMk cId="774521525" sldId="855"/>
            <ac:spMk id="2" creationId="{00000000-0000-0000-0000-000000000000}"/>
          </ac:spMkLst>
        </pc:spChg>
      </pc:sldChg>
      <pc:sldChg chg="ord">
        <pc:chgData name="Talbot, Alex" userId="S::097445@croydon.gov.uk::2e359fc2-acc1-4d79-bd57-d83855c21d06" providerId="AD" clId="Web-{68EB3966-20FF-579F-FD38-C300E1463669}" dt="2019-05-17T15:37:52.155" v="17"/>
        <pc:sldMkLst>
          <pc:docMk/>
          <pc:sldMk cId="1593550025" sldId="856"/>
        </pc:sldMkLst>
      </pc:sldChg>
      <pc:sldChg chg="ord">
        <pc:chgData name="Talbot, Alex" userId="S::097445@croydon.gov.uk::2e359fc2-acc1-4d79-bd57-d83855c21d06" providerId="AD" clId="Web-{68EB3966-20FF-579F-FD38-C300E1463669}" dt="2019-05-17T15:37:59.139" v="18"/>
        <pc:sldMkLst>
          <pc:docMk/>
          <pc:sldMk cId="2921125348" sldId="870"/>
        </pc:sldMkLst>
      </pc:sldChg>
      <pc:sldChg chg="modSp new del">
        <pc:chgData name="Talbot, Alex" userId="S::097445@croydon.gov.uk::2e359fc2-acc1-4d79-bd57-d83855c21d06" providerId="AD" clId="Web-{68EB3966-20FF-579F-FD38-C300E1463669}" dt="2019-05-17T15:37:19.827" v="16"/>
        <pc:sldMkLst>
          <pc:docMk/>
          <pc:sldMk cId="4204530140" sldId="872"/>
        </pc:sldMkLst>
        <pc:spChg chg="mod">
          <ac:chgData name="Talbot, Alex" userId="S::097445@croydon.gov.uk::2e359fc2-acc1-4d79-bd57-d83855c21d06" providerId="AD" clId="Web-{68EB3966-20FF-579F-FD38-C300E1463669}" dt="2019-05-17T15:36:20.155" v="15" actId="20577"/>
          <ac:spMkLst>
            <pc:docMk/>
            <pc:sldMk cId="4204530140" sldId="872"/>
            <ac:spMk id="2" creationId="{E535505E-8CD6-4BD8-AEFD-EC3C1FF28257}"/>
          </ac:spMkLst>
        </pc:spChg>
      </pc:sldChg>
    </pc:docChg>
  </pc:docChgLst>
  <pc:docChgLst>
    <pc:chgData name="Butt, Henry" userId="S::097444@croydon.gov.uk::5ded9784-7b69-4809-b6c2-b1719bef27bf" providerId="AD" clId="Web-{31F60157-AE14-9FBF-52B9-18CC01BAF2AE}"/>
    <pc:docChg chg="addSld modSld">
      <pc:chgData name="Butt, Henry" userId="S::097444@croydon.gov.uk::5ded9784-7b69-4809-b6c2-b1719bef27bf" providerId="AD" clId="Web-{31F60157-AE14-9FBF-52B9-18CC01BAF2AE}" dt="2019-05-10T15:22:35.853" v="3144"/>
      <pc:docMkLst>
        <pc:docMk/>
      </pc:docMkLst>
      <pc:sldChg chg="addSp modSp">
        <pc:chgData name="Butt, Henry" userId="S::097444@croydon.gov.uk::5ded9784-7b69-4809-b6c2-b1719bef27bf" providerId="AD" clId="Web-{31F60157-AE14-9FBF-52B9-18CC01BAF2AE}" dt="2019-05-10T14:59:00.596" v="2221" actId="20577"/>
        <pc:sldMkLst>
          <pc:docMk/>
          <pc:sldMk cId="241086178" sldId="844"/>
        </pc:sldMkLst>
        <pc:spChg chg="mod">
          <ac:chgData name="Butt, Henry" userId="S::097444@croydon.gov.uk::5ded9784-7b69-4809-b6c2-b1719bef27bf" providerId="AD" clId="Web-{31F60157-AE14-9FBF-52B9-18CC01BAF2AE}" dt="2019-05-10T14:14:50.348" v="20" actId="20577"/>
          <ac:spMkLst>
            <pc:docMk/>
            <pc:sldMk cId="241086178" sldId="844"/>
            <ac:spMk id="2" creationId="{41137598-CD08-4C48-A92D-B67A5B821361}"/>
          </ac:spMkLst>
        </pc:spChg>
        <pc:spChg chg="mod">
          <ac:chgData name="Butt, Henry" userId="S::097444@croydon.gov.uk::5ded9784-7b69-4809-b6c2-b1719bef27bf" providerId="AD" clId="Web-{31F60157-AE14-9FBF-52B9-18CC01BAF2AE}" dt="2019-05-10T14:37:11.667" v="1340" actId="20577"/>
          <ac:spMkLst>
            <pc:docMk/>
            <pc:sldMk cId="241086178" sldId="844"/>
            <ac:spMk id="3" creationId="{5BD5EBC0-3539-4FF0-8889-0A9E3378A15D}"/>
          </ac:spMkLst>
        </pc:spChg>
        <pc:spChg chg="add mod">
          <ac:chgData name="Butt, Henry" userId="S::097444@croydon.gov.uk::5ded9784-7b69-4809-b6c2-b1719bef27bf" providerId="AD" clId="Web-{31F60157-AE14-9FBF-52B9-18CC01BAF2AE}" dt="2019-05-10T14:59:00.596" v="2221" actId="20577"/>
          <ac:spMkLst>
            <pc:docMk/>
            <pc:sldMk cId="241086178" sldId="844"/>
            <ac:spMk id="4" creationId="{6935F7E7-9836-4F41-A6FA-4BEF88107015}"/>
          </ac:spMkLst>
        </pc:spChg>
      </pc:sldChg>
      <pc:sldChg chg="addSp delSp modSp new modNotes">
        <pc:chgData name="Butt, Henry" userId="S::097444@croydon.gov.uk::5ded9784-7b69-4809-b6c2-b1719bef27bf" providerId="AD" clId="Web-{31F60157-AE14-9FBF-52B9-18CC01BAF2AE}" dt="2019-05-10T15:21:30.369" v="3067" actId="20577"/>
        <pc:sldMkLst>
          <pc:docMk/>
          <pc:sldMk cId="3029233649" sldId="847"/>
        </pc:sldMkLst>
        <pc:spChg chg="del">
          <ac:chgData name="Butt, Henry" userId="S::097444@croydon.gov.uk::5ded9784-7b69-4809-b6c2-b1719bef27bf" providerId="AD" clId="Web-{31F60157-AE14-9FBF-52B9-18CC01BAF2AE}" dt="2019-05-10T14:31:22.478" v="946"/>
          <ac:spMkLst>
            <pc:docMk/>
            <pc:sldMk cId="3029233649" sldId="847"/>
            <ac:spMk id="2" creationId="{266AAD2D-625C-4339-AA82-F61145B1D164}"/>
          </ac:spMkLst>
        </pc:spChg>
        <pc:spChg chg="mod">
          <ac:chgData name="Butt, Henry" userId="S::097444@croydon.gov.uk::5ded9784-7b69-4809-b6c2-b1719bef27bf" providerId="AD" clId="Web-{31F60157-AE14-9FBF-52B9-18CC01BAF2AE}" dt="2019-05-10T15:21:30.369" v="3067" actId="20577"/>
          <ac:spMkLst>
            <pc:docMk/>
            <pc:sldMk cId="3029233649" sldId="847"/>
            <ac:spMk id="3" creationId="{61674704-8D6F-4584-834B-589AE8AABDB8}"/>
          </ac:spMkLst>
        </pc:spChg>
        <pc:spChg chg="add mod">
          <ac:chgData name="Butt, Henry" userId="S::097444@croydon.gov.uk::5ded9784-7b69-4809-b6c2-b1719bef27bf" providerId="AD" clId="Web-{31F60157-AE14-9FBF-52B9-18CC01BAF2AE}" dt="2019-05-10T14:31:22.837" v="947"/>
          <ac:spMkLst>
            <pc:docMk/>
            <pc:sldMk cId="3029233649" sldId="847"/>
            <ac:spMk id="5" creationId="{1AE1780B-8866-47D4-838F-EBCB0966D99D}"/>
          </ac:spMkLst>
        </pc:spChg>
        <pc:spChg chg="add mod">
          <ac:chgData name="Butt, Henry" userId="S::097444@croydon.gov.uk::5ded9784-7b69-4809-b6c2-b1719bef27bf" providerId="AD" clId="Web-{31F60157-AE14-9FBF-52B9-18CC01BAF2AE}" dt="2019-05-10T14:37:33.449" v="1342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addSp delSp modSp new modNotes">
        <pc:chgData name="Butt, Henry" userId="S::097444@croydon.gov.uk::5ded9784-7b69-4809-b6c2-b1719bef27bf" providerId="AD" clId="Web-{31F60157-AE14-9FBF-52B9-18CC01BAF2AE}" dt="2019-05-10T15:22:35.853" v="3144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31F60157-AE14-9FBF-52B9-18CC01BAF2AE}" dt="2019-05-10T14:46:35.873" v="1396" actId="1076"/>
          <ac:spMkLst>
            <pc:docMk/>
            <pc:sldMk cId="3028281085" sldId="848"/>
            <ac:spMk id="2" creationId="{C893FF65-77ED-4074-BEB2-FBFBE316FBA5}"/>
          </ac:spMkLst>
        </pc:spChg>
        <pc:spChg chg="del">
          <ac:chgData name="Butt, Henry" userId="S::097444@croydon.gov.uk::5ded9784-7b69-4809-b6c2-b1719bef27bf" providerId="AD" clId="Web-{31F60157-AE14-9FBF-52B9-18CC01BAF2AE}" dt="2019-05-10T14:45:36.264" v="1373"/>
          <ac:spMkLst>
            <pc:docMk/>
            <pc:sldMk cId="3028281085" sldId="848"/>
            <ac:spMk id="3" creationId="{382A6C0D-C5B0-42CB-B580-68990615EAA6}"/>
          </ac:spMkLst>
        </pc:spChg>
        <pc:spChg chg="add del mod">
          <ac:chgData name="Butt, Henry" userId="S::097444@croydon.gov.uk::5ded9784-7b69-4809-b6c2-b1719bef27bf" providerId="AD" clId="Web-{31F60157-AE14-9FBF-52B9-18CC01BAF2AE}" dt="2019-05-10T14:46:00.889" v="1380"/>
          <ac:spMkLst>
            <pc:docMk/>
            <pc:sldMk cId="3028281085" sldId="848"/>
            <ac:spMk id="4" creationId="{41FFC3DE-41B0-4947-B7D8-42CDF2A03F3E}"/>
          </ac:spMkLst>
        </pc:spChg>
        <pc:spChg chg="add mod">
          <ac:chgData name="Butt, Henry" userId="S::097444@croydon.gov.uk::5ded9784-7b69-4809-b6c2-b1719bef27bf" providerId="AD" clId="Web-{31F60157-AE14-9FBF-52B9-18CC01BAF2AE}" dt="2019-05-10T15:04:51.535" v="2895" actId="20577"/>
          <ac:spMkLst>
            <pc:docMk/>
            <pc:sldMk cId="3028281085" sldId="848"/>
            <ac:spMk id="5" creationId="{AB7D1BCC-E5EE-4F45-8F03-5970B4CB7153}"/>
          </ac:spMkLst>
        </pc:spChg>
        <pc:spChg chg="add mod">
          <ac:chgData name="Butt, Henry" userId="S::097444@croydon.gov.uk::5ded9784-7b69-4809-b6c2-b1719bef27bf" providerId="AD" clId="Web-{31F60157-AE14-9FBF-52B9-18CC01BAF2AE}" dt="2019-05-10T15:22:28.525" v="3137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Bashford, Simon" userId="S::435015@croydon.gov.uk::0ccd7925-c24f-487a-959b-438507c9a4b7" providerId="AD" clId="Web-{114BBD23-A1CA-4A9A-B908-CB179EE4A02E}"/>
    <pc:docChg chg="modSld">
      <pc:chgData name="Bashford, Simon" userId="S::435015@croydon.gov.uk::0ccd7925-c24f-487a-959b-438507c9a4b7" providerId="AD" clId="Web-{114BBD23-A1CA-4A9A-B908-CB179EE4A02E}" dt="2019-05-17T14:17:31.794" v="327"/>
      <pc:docMkLst>
        <pc:docMk/>
      </pc:docMkLst>
      <pc:sldChg chg="addSp modSp">
        <pc:chgData name="Bashford, Simon" userId="S::435015@croydon.gov.uk::0ccd7925-c24f-487a-959b-438507c9a4b7" providerId="AD" clId="Web-{114BBD23-A1CA-4A9A-B908-CB179EE4A02E}" dt="2019-05-17T14:17:31.794" v="327"/>
        <pc:sldMkLst>
          <pc:docMk/>
          <pc:sldMk cId="3003548362" sldId="845"/>
        </pc:sldMkLst>
        <pc:spChg chg="mod">
          <ac:chgData name="Bashford, Simon" userId="S::435015@croydon.gov.uk::0ccd7925-c24f-487a-959b-438507c9a4b7" providerId="AD" clId="Web-{114BBD23-A1CA-4A9A-B908-CB179EE4A02E}" dt="2019-05-17T14:10:03.839" v="10" actId="20577"/>
          <ac:spMkLst>
            <pc:docMk/>
            <pc:sldMk cId="3003548362" sldId="845"/>
            <ac:spMk id="2" creationId="{951500AA-22E8-4C43-945A-BA9517550FDA}"/>
          </ac:spMkLst>
        </pc:spChg>
        <pc:graphicFrameChg chg="add mod modGraphic">
          <ac:chgData name="Bashford, Simon" userId="S::435015@croydon.gov.uk::0ccd7925-c24f-487a-959b-438507c9a4b7" providerId="AD" clId="Web-{114BBD23-A1CA-4A9A-B908-CB179EE4A02E}" dt="2019-05-17T14:17:31.794" v="327"/>
          <ac:graphicFrameMkLst>
            <pc:docMk/>
            <pc:sldMk cId="3003548362" sldId="845"/>
            <ac:graphicFrameMk id="4" creationId="{F982C95C-2230-4F73-BFFE-F3788E176981}"/>
          </ac:graphicFrameMkLst>
        </pc:graphicFrameChg>
      </pc:sldChg>
    </pc:docChg>
  </pc:docChgLst>
  <pc:docChgLst>
    <pc:chgData name="Butt, Henry" userId="S::097444@croydon.gov.uk::5ded9784-7b69-4809-b6c2-b1719bef27bf" providerId="AD" clId="Web-{4C2BD318-AC39-C381-2B7E-9E83609CEA32}"/>
    <pc:docChg chg="modSld">
      <pc:chgData name="Butt, Henry" userId="S::097444@croydon.gov.uk::5ded9784-7b69-4809-b6c2-b1719bef27bf" providerId="AD" clId="Web-{4C2BD318-AC39-C381-2B7E-9E83609CEA32}" dt="2019-05-15T12:23:06.816" v="20" actId="20577"/>
      <pc:docMkLst>
        <pc:docMk/>
      </pc:docMkLst>
      <pc:sldChg chg="modSp">
        <pc:chgData name="Butt, Henry" userId="S::097444@croydon.gov.uk::5ded9784-7b69-4809-b6c2-b1719bef27bf" providerId="AD" clId="Web-{4C2BD318-AC39-C381-2B7E-9E83609CEA32}" dt="2019-05-15T12:23:06.816" v="20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4C2BD318-AC39-C381-2B7E-9E83609CEA32}" dt="2019-05-15T12:23:06.816" v="20" actId="20577"/>
          <ac:spMkLst>
            <pc:docMk/>
            <pc:sldMk cId="3029233649" sldId="847"/>
            <ac:spMk id="3" creationId="{61674704-8D6F-4584-834B-589AE8AABDB8}"/>
          </ac:spMkLst>
        </pc:spChg>
      </pc:sldChg>
    </pc:docChg>
  </pc:docChgLst>
  <pc:docChgLst>
    <pc:chgData name="Talbot, Alex" userId="S::097445@croydon.gov.uk::2e359fc2-acc1-4d79-bd57-d83855c21d06" providerId="AD" clId="Web-{DA6C9ABA-AC8E-8A7F-D43F-F366EF3409A3}"/>
    <pc:docChg chg="modSld">
      <pc:chgData name="Talbot, Alex" userId="S::097445@croydon.gov.uk::2e359fc2-acc1-4d79-bd57-d83855c21d06" providerId="AD" clId="Web-{DA6C9ABA-AC8E-8A7F-D43F-F366EF3409A3}" dt="2019-05-16T16:18:05.533" v="1"/>
      <pc:docMkLst>
        <pc:docMk/>
      </pc:docMkLst>
      <pc:sldChg chg="modSp">
        <pc:chgData name="Talbot, Alex" userId="S::097445@croydon.gov.uk::2e359fc2-acc1-4d79-bd57-d83855c21d06" providerId="AD" clId="Web-{DA6C9ABA-AC8E-8A7F-D43F-F366EF3409A3}" dt="2019-05-16T16:18:05.533" v="1"/>
        <pc:sldMkLst>
          <pc:docMk/>
          <pc:sldMk cId="2078240094" sldId="851"/>
        </pc:sldMkLst>
        <pc:spChg chg="mod">
          <ac:chgData name="Talbot, Alex" userId="S::097445@croydon.gov.uk::2e359fc2-acc1-4d79-bd57-d83855c21d06" providerId="AD" clId="Web-{DA6C9ABA-AC8E-8A7F-D43F-F366EF3409A3}" dt="2019-05-16T16:18:05.533" v="1"/>
          <ac:spMkLst>
            <pc:docMk/>
            <pc:sldMk cId="2078240094" sldId="851"/>
            <ac:spMk id="4" creationId="{06239909-9D7C-48FE-8306-8B6AD41B5EB7}"/>
          </ac:spMkLst>
        </pc:spChg>
      </pc:sldChg>
    </pc:docChg>
  </pc:docChgLst>
  <pc:docChgLst>
    <pc:chgData name="Handford, Gavin" userId="S::097600@croydon.gov.uk::2762523c-561f-4cff-8adc-44a15bce1ccb" providerId="AD" clId="Web-{C4F4E92C-BA09-344E-4960-4CD5ACC662A4}"/>
    <pc:docChg chg="modSld">
      <pc:chgData name="Handford, Gavin" userId="S::097600@croydon.gov.uk::2762523c-561f-4cff-8adc-44a15bce1ccb" providerId="AD" clId="Web-{C4F4E92C-BA09-344E-4960-4CD5ACC662A4}" dt="2019-05-17T14:07:26.348" v="261"/>
      <pc:docMkLst>
        <pc:docMk/>
      </pc:docMkLst>
      <pc:sldChg chg="modSp">
        <pc:chgData name="Handford, Gavin" userId="S::097600@croydon.gov.uk::2762523c-561f-4cff-8adc-44a15bce1ccb" providerId="AD" clId="Web-{C4F4E92C-BA09-344E-4960-4CD5ACC662A4}" dt="2019-05-17T13:45:33.563" v="41" actId="20577"/>
        <pc:sldMkLst>
          <pc:docMk/>
          <pc:sldMk cId="3029233649" sldId="847"/>
        </pc:sldMkLst>
        <pc:spChg chg="mod">
          <ac:chgData name="Handford, Gavin" userId="S::097600@croydon.gov.uk::2762523c-561f-4cff-8adc-44a15bce1ccb" providerId="AD" clId="Web-{C4F4E92C-BA09-344E-4960-4CD5ACC662A4}" dt="2019-05-17T13:45:33.563" v="41" actId="20577"/>
          <ac:spMkLst>
            <pc:docMk/>
            <pc:sldMk cId="3029233649" sldId="847"/>
            <ac:spMk id="3" creationId="{61674704-8D6F-4584-834B-589AE8AABDB8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5:59.141" v="42" actId="20577"/>
        <pc:sldMkLst>
          <pc:docMk/>
          <pc:sldMk cId="3028281085" sldId="848"/>
        </pc:sldMkLst>
        <pc:spChg chg="mod">
          <ac:chgData name="Handford, Gavin" userId="S::097600@croydon.gov.uk::2762523c-561f-4cff-8adc-44a15bce1ccb" providerId="AD" clId="Web-{C4F4E92C-BA09-344E-4960-4CD5ACC662A4}" dt="2019-05-17T13:45:59.141" v="42" actId="20577"/>
          <ac:spMkLst>
            <pc:docMk/>
            <pc:sldMk cId="3028281085" sldId="848"/>
            <ac:spMk id="5" creationId="{AB7D1BCC-E5EE-4F45-8F03-5970B4CB7153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7:39.376" v="188"/>
        <pc:sldMkLst>
          <pc:docMk/>
          <pc:sldMk cId="2078240094" sldId="851"/>
        </pc:sldMkLst>
        <pc:graphicFrameChg chg="mod modGraphic">
          <ac:chgData name="Handford, Gavin" userId="S::097600@croydon.gov.uk::2762523c-561f-4cff-8adc-44a15bce1ccb" providerId="AD" clId="Web-{C4F4E92C-BA09-344E-4960-4CD5ACC662A4}" dt="2019-05-17T13:47:39.376" v="188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C4F4E92C-BA09-344E-4960-4CD5ACC662A4}" dt="2019-05-17T14:07:26.348" v="261"/>
        <pc:sldMkLst>
          <pc:docMk/>
          <pc:sldMk cId="774521525" sldId="855"/>
        </pc:sldMkLst>
        <pc:graphicFrameChg chg="mod modGraphic">
          <ac:chgData name="Handford, Gavin" userId="S::097600@croydon.gov.uk::2762523c-561f-4cff-8adc-44a15bce1ccb" providerId="AD" clId="Web-{C4F4E92C-BA09-344E-4960-4CD5ACC662A4}" dt="2019-05-17T14:07:26.348" v="261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C4F4E92C-BA09-344E-4960-4CD5ACC662A4}" dt="2019-05-17T13:54:40.846" v="194" actId="20577"/>
        <pc:sldMkLst>
          <pc:docMk/>
          <pc:sldMk cId="464678197" sldId="858"/>
        </pc:sldMkLst>
        <pc:spChg chg="mod">
          <ac:chgData name="Handford, Gavin" userId="S::097600@croydon.gov.uk::2762523c-561f-4cff-8adc-44a15bce1ccb" providerId="AD" clId="Web-{C4F4E92C-BA09-344E-4960-4CD5ACC662A4}" dt="2019-05-17T13:54:40.846" v="194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">
        <pc:chgData name="Handford, Gavin" userId="S::097600@croydon.gov.uk::2762523c-561f-4cff-8adc-44a15bce1ccb" providerId="AD" clId="Web-{C4F4E92C-BA09-344E-4960-4CD5ACC662A4}" dt="2019-05-17T13:44:17.078" v="30" actId="20577"/>
        <pc:sldMkLst>
          <pc:docMk/>
          <pc:sldMk cId="3046691822" sldId="865"/>
        </pc:sldMkLst>
        <pc:spChg chg="mod">
          <ac:chgData name="Handford, Gavin" userId="S::097600@croydon.gov.uk::2762523c-561f-4cff-8adc-44a15bce1ccb" providerId="AD" clId="Web-{C4F4E92C-BA09-344E-4960-4CD5ACC662A4}" dt="2019-05-17T13:44:17.078" v="30" actId="20577"/>
          <ac:spMkLst>
            <pc:docMk/>
            <pc:sldMk cId="3046691822" sldId="865"/>
            <ac:spMk id="12" creationId="{00000000-0000-0000-0000-000000000000}"/>
          </ac:spMkLst>
        </pc:spChg>
      </pc:sldChg>
    </pc:docChg>
  </pc:docChgLst>
  <pc:docChgLst>
    <pc:chgData name="Kenny, Saeeda" userId="S::380775@croydon.gov.uk::0e9b43d8-6b15-42e8-8f1d-862cf2488441" providerId="AD" clId="Web-{12E81086-5F5E-42D6-379F-2D8456F82E67}"/>
    <pc:docChg chg="modSld">
      <pc:chgData name="Kenny, Saeeda" userId="S::380775@croydon.gov.uk::0e9b43d8-6b15-42e8-8f1d-862cf2488441" providerId="AD" clId="Web-{12E81086-5F5E-42D6-379F-2D8456F82E67}" dt="2019-05-21T10:17:37.204" v="2" actId="1076"/>
      <pc:docMkLst>
        <pc:docMk/>
      </pc:docMkLst>
      <pc:sldChg chg="modSp">
        <pc:chgData name="Kenny, Saeeda" userId="S::380775@croydon.gov.uk::0e9b43d8-6b15-42e8-8f1d-862cf2488441" providerId="AD" clId="Web-{12E81086-5F5E-42D6-379F-2D8456F82E67}" dt="2019-05-21T10:17:37.204" v="2" actId="1076"/>
        <pc:sldMkLst>
          <pc:docMk/>
          <pc:sldMk cId="1734698269" sldId="850"/>
        </pc:sldMkLst>
        <pc:grpChg chg="mod">
          <ac:chgData name="Kenny, Saeeda" userId="S::380775@croydon.gov.uk::0e9b43d8-6b15-42e8-8f1d-862cf2488441" providerId="AD" clId="Web-{12E81086-5F5E-42D6-379F-2D8456F82E67}" dt="2019-05-21T10:17:37.204" v="2" actId="1076"/>
          <ac:grpSpMkLst>
            <pc:docMk/>
            <pc:sldMk cId="1734698269" sldId="850"/>
            <ac:grpSpMk id="7" creationId="{00000000-0000-0000-0000-000000000000}"/>
          </ac:grpSpMkLst>
        </pc:grpChg>
        <pc:grpChg chg="mod">
          <ac:chgData name="Kenny, Saeeda" userId="S::380775@croydon.gov.uk::0e9b43d8-6b15-42e8-8f1d-862cf2488441" providerId="AD" clId="Web-{12E81086-5F5E-42D6-379F-2D8456F82E67}" dt="2019-05-21T10:17:04.329" v="1" actId="1076"/>
          <ac:grpSpMkLst>
            <pc:docMk/>
            <pc:sldMk cId="1734698269" sldId="850"/>
            <ac:grpSpMk id="9" creationId="{00000000-0000-0000-0000-000000000000}"/>
          </ac:grpSpMkLst>
        </pc:grpChg>
      </pc:sldChg>
    </pc:docChg>
  </pc:docChgLst>
  <pc:docChgLst>
    <pc:chgData name="Warman, Sarah" userId="S::093060@croydon.gov.uk::8fe8745b-66ab-4633-a12d-af5c80ea93cc" providerId="AD" clId="Web-{B52437BD-FC3D-9A30-49A4-8B86E1D1BD3B}"/>
    <pc:docChg chg="modSld">
      <pc:chgData name="Warman, Sarah" userId="S::093060@croydon.gov.uk::8fe8745b-66ab-4633-a12d-af5c80ea93cc" providerId="AD" clId="Web-{B52437BD-FC3D-9A30-49A4-8B86E1D1BD3B}" dt="2019-05-17T10:57:22.613" v="422" actId="20577"/>
      <pc:docMkLst>
        <pc:docMk/>
      </pc:docMkLst>
      <pc:sldChg chg="modSp">
        <pc:chgData name="Warman, Sarah" userId="S::093060@croydon.gov.uk::8fe8745b-66ab-4633-a12d-af5c80ea93cc" providerId="AD" clId="Web-{B52437BD-FC3D-9A30-49A4-8B86E1D1BD3B}" dt="2019-05-17T10:46:38.665" v="124" actId="20577"/>
        <pc:sldMkLst>
          <pc:docMk/>
          <pc:sldMk cId="3029233649" sldId="847"/>
        </pc:sldMkLst>
        <pc:spChg chg="mod">
          <ac:chgData name="Warman, Sarah" userId="S::093060@croydon.gov.uk::8fe8745b-66ab-4633-a12d-af5c80ea93cc" providerId="AD" clId="Web-{B52437BD-FC3D-9A30-49A4-8B86E1D1BD3B}" dt="2019-05-17T10:46:38.665" v="124" actId="20577"/>
          <ac:spMkLst>
            <pc:docMk/>
            <pc:sldMk cId="3029233649" sldId="847"/>
            <ac:spMk id="2" creationId="{E13C09A2-BF22-408E-808F-4C571975810D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47:13.837" v="137" actId="20577"/>
        <pc:sldMkLst>
          <pc:docMk/>
          <pc:sldMk cId="3028281085" sldId="848"/>
        </pc:sldMkLst>
        <pc:spChg chg="mod">
          <ac:chgData name="Warman, Sarah" userId="S::093060@croydon.gov.uk::8fe8745b-66ab-4633-a12d-af5c80ea93cc" providerId="AD" clId="Web-{B52437BD-FC3D-9A30-49A4-8B86E1D1BD3B}" dt="2019-05-17T10:47:13.837" v="137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delSp modSp">
        <pc:chgData name="Warman, Sarah" userId="S::093060@croydon.gov.uk::8fe8745b-66ab-4633-a12d-af5c80ea93cc" providerId="AD" clId="Web-{B52437BD-FC3D-9A30-49A4-8B86E1D1BD3B}" dt="2019-05-17T10:47:23.868" v="142"/>
        <pc:sldMkLst>
          <pc:docMk/>
          <pc:sldMk cId="1734698269" sldId="850"/>
        </pc:sldMkLst>
        <pc:spChg chg="del mod">
          <ac:chgData name="Warman, Sarah" userId="S::093060@croydon.gov.uk::8fe8745b-66ab-4633-a12d-af5c80ea93cc" providerId="AD" clId="Web-{B52437BD-FC3D-9A30-49A4-8B86E1D1BD3B}" dt="2019-05-17T10:47:23.868" v="142"/>
          <ac:spMkLst>
            <pc:docMk/>
            <pc:sldMk cId="1734698269" sldId="850"/>
            <ac:spMk id="3" creationId="{00000000-0000-0000-0000-000000000000}"/>
          </ac:spMkLst>
        </pc:spChg>
      </pc:sldChg>
      <pc:sldChg chg="delSp modSp">
        <pc:chgData name="Warman, Sarah" userId="S::093060@croydon.gov.uk::8fe8745b-66ab-4633-a12d-af5c80ea93cc" providerId="AD" clId="Web-{B52437BD-FC3D-9A30-49A4-8B86E1D1BD3B}" dt="2019-05-17T10:51:40.022" v="338" actId="1076"/>
        <pc:sldMkLst>
          <pc:docMk/>
          <pc:sldMk cId="2078240094" sldId="851"/>
        </pc:sldMkLst>
        <pc:spChg chg="del mod">
          <ac:chgData name="Warman, Sarah" userId="S::093060@croydon.gov.uk::8fe8745b-66ab-4633-a12d-af5c80ea93cc" providerId="AD" clId="Web-{B52437BD-FC3D-9A30-49A4-8B86E1D1BD3B}" dt="2019-05-17T10:50:44.210" v="326"/>
          <ac:spMkLst>
            <pc:docMk/>
            <pc:sldMk cId="2078240094" sldId="851"/>
            <ac:spMk id="3" creationId="{291F436E-8F24-45B6-9922-36B8C51E5637}"/>
          </ac:spMkLst>
        </pc:spChg>
        <pc:graphicFrameChg chg="mod modGraphic">
          <ac:chgData name="Warman, Sarah" userId="S::093060@croydon.gov.uk::8fe8745b-66ab-4633-a12d-af5c80ea93cc" providerId="AD" clId="Web-{B52437BD-FC3D-9A30-49A4-8B86E1D1BD3B}" dt="2019-05-17T10:51:40.022" v="338" actId="1076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Warman, Sarah" userId="S::093060@croydon.gov.uk::8fe8745b-66ab-4633-a12d-af5c80ea93cc" providerId="AD" clId="Web-{B52437BD-FC3D-9A30-49A4-8B86E1D1BD3B}" dt="2019-05-17T10:56:29.488" v="402" actId="20577"/>
        <pc:sldMkLst>
          <pc:docMk/>
          <pc:sldMk cId="777089977" sldId="853"/>
        </pc:sldMkLst>
        <pc:spChg chg="mod">
          <ac:chgData name="Warman, Sarah" userId="S::093060@croydon.gov.uk::8fe8745b-66ab-4633-a12d-af5c80ea93cc" providerId="AD" clId="Web-{B52437BD-FC3D-9A30-49A4-8B86E1D1BD3B}" dt="2019-05-17T10:56:29.488" v="402" actId="20577"/>
          <ac:spMkLst>
            <pc:docMk/>
            <pc:sldMk cId="777089977" sldId="853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B52437BD-FC3D-9A30-49A4-8B86E1D1BD3B}" dt="2019-05-17T10:52:09.600" v="342" actId="20577"/>
          <ac:spMkLst>
            <pc:docMk/>
            <pc:sldMk cId="777089977" sldId="853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5:46.770" v="394" actId="20577"/>
        <pc:sldMkLst>
          <pc:docMk/>
          <pc:sldMk cId="1593550025" sldId="856"/>
        </pc:sldMkLst>
        <pc:spChg chg="mod">
          <ac:chgData name="Warman, Sarah" userId="S::093060@croydon.gov.uk::8fe8745b-66ab-4633-a12d-af5c80ea93cc" providerId="AD" clId="Web-{B52437BD-FC3D-9A30-49A4-8B86E1D1BD3B}" dt="2019-05-17T10:55:46.770" v="394" actId="20577"/>
          <ac:spMkLst>
            <pc:docMk/>
            <pc:sldMk cId="1593550025" sldId="856"/>
            <ac:spMk id="7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11.067" v="396" actId="20577"/>
        <pc:sldMkLst>
          <pc:docMk/>
          <pc:sldMk cId="1453544522" sldId="857"/>
        </pc:sldMkLst>
        <pc:spChg chg="mod">
          <ac:chgData name="Warman, Sarah" userId="S::093060@croydon.gov.uk::8fe8745b-66ab-4633-a12d-af5c80ea93cc" providerId="AD" clId="Web-{B52437BD-FC3D-9A30-49A4-8B86E1D1BD3B}" dt="2019-05-17T10:56:11.067" v="396" actId="20577"/>
          <ac:spMkLst>
            <pc:docMk/>
            <pc:sldMk cId="1453544522" sldId="857"/>
            <ac:spMk id="2" creationId="{951500AA-22E8-4C43-945A-BA9517550FDA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39.301" v="407" actId="20577"/>
        <pc:sldMkLst>
          <pc:docMk/>
          <pc:sldMk cId="464678197" sldId="858"/>
        </pc:sldMkLst>
        <pc:spChg chg="mod">
          <ac:chgData name="Warman, Sarah" userId="S::093060@croydon.gov.uk::8fe8745b-66ab-4633-a12d-af5c80ea93cc" providerId="AD" clId="Web-{B52437BD-FC3D-9A30-49A4-8B86E1D1BD3B}" dt="2019-05-17T10:56:39.301" v="407" actId="20577"/>
          <ac:spMkLst>
            <pc:docMk/>
            <pc:sldMk cId="464678197" sldId="858"/>
            <ac:spMk id="2" creationId="{8845CE91-1DCF-480D-AF7B-599FDAB39CC4}"/>
          </ac:spMkLst>
        </pc:spChg>
        <pc:spChg chg="mod">
          <ac:chgData name="Warman, Sarah" userId="S::093060@croydon.gov.uk::8fe8745b-66ab-4633-a12d-af5c80ea93cc" providerId="AD" clId="Web-{B52437BD-FC3D-9A30-49A4-8B86E1D1BD3B}" dt="2019-05-17T10:53:39.568" v="349" actId="20577"/>
          <ac:spMkLst>
            <pc:docMk/>
            <pc:sldMk cId="464678197" sldId="858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45:59.275" v="120" actId="20577"/>
        <pc:sldMkLst>
          <pc:docMk/>
          <pc:sldMk cId="3046691822" sldId="865"/>
        </pc:sldMkLst>
        <pc:spChg chg="mod">
          <ac:chgData name="Warman, Sarah" userId="S::093060@croydon.gov.uk::8fe8745b-66ab-4633-a12d-af5c80ea93cc" providerId="AD" clId="Web-{B52437BD-FC3D-9A30-49A4-8B86E1D1BD3B}" dt="2019-05-17T10:45:59.275" v="120" actId="20577"/>
          <ac:spMkLst>
            <pc:docMk/>
            <pc:sldMk cId="3046691822" sldId="865"/>
            <ac:spMk id="12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6:51.223" v="413" actId="20577"/>
        <pc:sldMkLst>
          <pc:docMk/>
          <pc:sldMk cId="3448438436" sldId="868"/>
        </pc:sldMkLst>
        <pc:spChg chg="mod">
          <ac:chgData name="Warman, Sarah" userId="S::093060@croydon.gov.uk::8fe8745b-66ab-4633-a12d-af5c80ea93cc" providerId="AD" clId="Web-{B52437BD-FC3D-9A30-49A4-8B86E1D1BD3B}" dt="2019-05-17T10:56:51.223" v="413" actId="20577"/>
          <ac:spMkLst>
            <pc:docMk/>
            <pc:sldMk cId="3448438436" sldId="868"/>
            <ac:spMk id="2" creationId="{8845CE91-1DCF-480D-AF7B-599FDAB39CC4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4:17.396" v="370" actId="20577"/>
        <pc:sldMkLst>
          <pc:docMk/>
          <pc:sldMk cId="1449005804" sldId="869"/>
        </pc:sldMkLst>
        <pc:spChg chg="mod">
          <ac:chgData name="Warman, Sarah" userId="S::093060@croydon.gov.uk::8fe8745b-66ab-4633-a12d-af5c80ea93cc" providerId="AD" clId="Web-{B52437BD-FC3D-9A30-49A4-8B86E1D1BD3B}" dt="2019-05-17T10:54:17.396" v="370" actId="20577"/>
          <ac:spMkLst>
            <pc:docMk/>
            <pc:sldMk cId="1449005804" sldId="869"/>
            <ac:spMk id="3" creationId="{00000000-0000-0000-0000-000000000000}"/>
          </ac:spMkLst>
        </pc:spChg>
      </pc:sldChg>
      <pc:sldChg chg="modSp">
        <pc:chgData name="Warman, Sarah" userId="S::093060@croydon.gov.uk::8fe8745b-66ab-4633-a12d-af5c80ea93cc" providerId="AD" clId="Web-{B52437BD-FC3D-9A30-49A4-8B86E1D1BD3B}" dt="2019-05-17T10:57:22.613" v="422" actId="20577"/>
        <pc:sldMkLst>
          <pc:docMk/>
          <pc:sldMk cId="2921125348" sldId="870"/>
        </pc:sldMkLst>
        <pc:spChg chg="mod">
          <ac:chgData name="Warman, Sarah" userId="S::093060@croydon.gov.uk::8fe8745b-66ab-4633-a12d-af5c80ea93cc" providerId="AD" clId="Web-{B52437BD-FC3D-9A30-49A4-8B86E1D1BD3B}" dt="2019-05-17T10:57:22.613" v="422" actId="20577"/>
          <ac:spMkLst>
            <pc:docMk/>
            <pc:sldMk cId="2921125348" sldId="870"/>
            <ac:spMk id="2" creationId="{00000000-0000-0000-0000-000000000000}"/>
          </ac:spMkLst>
        </pc:spChg>
      </pc:sldChg>
    </pc:docChg>
  </pc:docChgLst>
  <pc:docChgLst>
    <pc:chgData name="Dave-Shah, Rakhee" userId="S::496895@croydon.gov.uk::25d1a59a-41d9-441f-a3f5-290f77ee298e" providerId="AD" clId="Web-{F609DBB8-1C49-709E-E5AA-3E68C2BFA5DB}"/>
    <pc:docChg chg="modSld">
      <pc:chgData name="Dave-Shah, Rakhee" userId="S::496895@croydon.gov.uk::25d1a59a-41d9-441f-a3f5-290f77ee298e" providerId="AD" clId="Web-{F609DBB8-1C49-709E-E5AA-3E68C2BFA5DB}" dt="2019-05-17T16:37:46.612" v="21"/>
      <pc:docMkLst>
        <pc:docMk/>
      </pc:docMkLst>
      <pc:sldChg chg="modSp">
        <pc:chgData name="Dave-Shah, Rakhee" userId="S::496895@croydon.gov.uk::25d1a59a-41d9-441f-a3f5-290f77ee298e" providerId="AD" clId="Web-{F609DBB8-1C49-709E-E5AA-3E68C2BFA5DB}" dt="2019-05-17T16:28:30.838" v="10" actId="20577"/>
        <pc:sldMkLst>
          <pc:docMk/>
          <pc:sldMk cId="3028281085" sldId="848"/>
        </pc:sldMkLst>
        <pc:spChg chg="mod">
          <ac:chgData name="Dave-Shah, Rakhee" userId="S::496895@croydon.gov.uk::25d1a59a-41d9-441f-a3f5-290f77ee298e" providerId="AD" clId="Web-{F609DBB8-1C49-709E-E5AA-3E68C2BFA5DB}" dt="2019-05-17T16:28:30.838" v="10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modSp">
        <pc:chgData name="Dave-Shah, Rakhee" userId="S::496895@croydon.gov.uk::25d1a59a-41d9-441f-a3f5-290f77ee298e" providerId="AD" clId="Web-{F609DBB8-1C49-709E-E5AA-3E68C2BFA5DB}" dt="2019-05-17T16:37:46.612" v="21"/>
        <pc:sldMkLst>
          <pc:docMk/>
          <pc:sldMk cId="1734698269" sldId="850"/>
        </pc:sldMkLst>
        <pc:graphicFrameChg chg="mod modGraphic">
          <ac:chgData name="Dave-Shah, Rakhee" userId="S::496895@croydon.gov.uk::25d1a59a-41d9-441f-a3f5-290f77ee298e" providerId="AD" clId="Web-{F609DBB8-1C49-709E-E5AA-3E68C2BFA5DB}" dt="2019-05-17T16:37:46.612" v="21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</pc:docChg>
  </pc:docChgLst>
  <pc:docChgLst>
    <pc:chgData name="Butt, Henry" userId="S::097444@croydon.gov.uk::5ded9784-7b69-4809-b6c2-b1719bef27bf" providerId="AD" clId="Web-{437F3A57-A55D-254B-AD11-DB05F9470E06}"/>
    <pc:docChg chg="modSld">
      <pc:chgData name="Butt, Henry" userId="S::097444@croydon.gov.uk::5ded9784-7b69-4809-b6c2-b1719bef27bf" providerId="AD" clId="Web-{437F3A57-A55D-254B-AD11-DB05F9470E06}" dt="2019-05-15T12:23:55.193" v="2" actId="20577"/>
      <pc:docMkLst>
        <pc:docMk/>
      </pc:docMkLst>
      <pc:sldChg chg="modSp">
        <pc:chgData name="Butt, Henry" userId="S::097444@croydon.gov.uk::5ded9784-7b69-4809-b6c2-b1719bef27bf" providerId="AD" clId="Web-{437F3A57-A55D-254B-AD11-DB05F9470E06}" dt="2019-05-15T12:23:55.193" v="2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437F3A57-A55D-254B-AD11-DB05F9470E06}" dt="2019-05-15T12:23:55.193" v="2" actId="20577"/>
          <ac:spMkLst>
            <pc:docMk/>
            <pc:sldMk cId="3029233649" sldId="847"/>
            <ac:spMk id="3" creationId="{61674704-8D6F-4584-834B-589AE8AABDB8}"/>
          </ac:spMkLst>
        </pc:spChg>
      </pc:sldChg>
    </pc:docChg>
  </pc:docChgLst>
  <pc:docChgLst>
    <pc:chgData name="Dave-Shah, Rakhee" userId="S::496895@croydon.gov.uk::25d1a59a-41d9-441f-a3f5-290f77ee298e" providerId="AD" clId="Web-{040839BF-CD6D-8237-8980-F4F5609C8D78}"/>
    <pc:docChg chg="modSld">
      <pc:chgData name="Dave-Shah, Rakhee" userId="S::496895@croydon.gov.uk::25d1a59a-41d9-441f-a3f5-290f77ee298e" providerId="AD" clId="Web-{040839BF-CD6D-8237-8980-F4F5609C8D78}" dt="2019-05-17T16:43:51.469" v="2" actId="20577"/>
      <pc:docMkLst>
        <pc:docMk/>
      </pc:docMkLst>
      <pc:sldChg chg="modSp">
        <pc:chgData name="Dave-Shah, Rakhee" userId="S::496895@croydon.gov.uk::25d1a59a-41d9-441f-a3f5-290f77ee298e" providerId="AD" clId="Web-{040839BF-CD6D-8237-8980-F4F5609C8D78}" dt="2019-05-17T16:43:51.469" v="2" actId="20577"/>
        <pc:sldMkLst>
          <pc:docMk/>
          <pc:sldMk cId="1449005804" sldId="869"/>
        </pc:sldMkLst>
        <pc:spChg chg="mod">
          <ac:chgData name="Dave-Shah, Rakhee" userId="S::496895@croydon.gov.uk::25d1a59a-41d9-441f-a3f5-290f77ee298e" providerId="AD" clId="Web-{040839BF-CD6D-8237-8980-F4F5609C8D78}" dt="2019-05-17T16:43:51.469" v="2" actId="20577"/>
          <ac:spMkLst>
            <pc:docMk/>
            <pc:sldMk cId="1449005804" sldId="869"/>
            <ac:spMk id="3" creationId="{00000000-0000-0000-0000-000000000000}"/>
          </ac:spMkLst>
        </pc:spChg>
      </pc:sldChg>
    </pc:docChg>
  </pc:docChgLst>
  <pc:docChgLst>
    <pc:chgData name="Talbot, Alex" userId="S::097445@croydon.gov.uk::2e359fc2-acc1-4d79-bd57-d83855c21d06" providerId="AD" clId="Web-{F4680309-B0A0-863D-F1F3-EFF1944E2C99}"/>
    <pc:docChg chg="modSld">
      <pc:chgData name="Talbot, Alex" userId="S::097445@croydon.gov.uk::2e359fc2-acc1-4d79-bd57-d83855c21d06" providerId="AD" clId="Web-{F4680309-B0A0-863D-F1F3-EFF1944E2C99}" dt="2019-05-16T16:17:15.575" v="685"/>
      <pc:docMkLst>
        <pc:docMk/>
      </pc:docMkLst>
      <pc:sldChg chg="delSp modSp">
        <pc:chgData name="Talbot, Alex" userId="S::097445@croydon.gov.uk::2e359fc2-acc1-4d79-bd57-d83855c21d06" providerId="AD" clId="Web-{F4680309-B0A0-863D-F1F3-EFF1944E2C99}" dt="2019-05-16T16:03:23.898" v="289" actId="20577"/>
        <pc:sldMkLst>
          <pc:docMk/>
          <pc:sldMk cId="3028281085" sldId="848"/>
        </pc:sldMkLst>
        <pc:spChg chg="mod">
          <ac:chgData name="Talbot, Alex" userId="S::097445@croydon.gov.uk::2e359fc2-acc1-4d79-bd57-d83855c21d06" providerId="AD" clId="Web-{F4680309-B0A0-863D-F1F3-EFF1944E2C99}" dt="2019-05-16T15:59:20.927" v="163" actId="1076"/>
          <ac:spMkLst>
            <pc:docMk/>
            <pc:sldMk cId="3028281085" sldId="848"/>
            <ac:spMk id="2" creationId="{C893FF65-77ED-4074-BEB2-FBFBE316FBA5}"/>
          </ac:spMkLst>
        </pc:spChg>
        <pc:spChg chg="del mod">
          <ac:chgData name="Talbot, Alex" userId="S::097445@croydon.gov.uk::2e359fc2-acc1-4d79-bd57-d83855c21d06" providerId="AD" clId="Web-{F4680309-B0A0-863D-F1F3-EFF1944E2C99}" dt="2019-05-16T16:03:07.616" v="276"/>
          <ac:spMkLst>
            <pc:docMk/>
            <pc:sldMk cId="3028281085" sldId="848"/>
            <ac:spMk id="3" creationId="{B8FCC916-B10E-45A8-A12D-2B791F6E9D19}"/>
          </ac:spMkLst>
        </pc:spChg>
        <pc:spChg chg="mod">
          <ac:chgData name="Talbot, Alex" userId="S::097445@croydon.gov.uk::2e359fc2-acc1-4d79-bd57-d83855c21d06" providerId="AD" clId="Web-{F4680309-B0A0-863D-F1F3-EFF1944E2C99}" dt="2019-05-16T15:59:22.021" v="164" actId="1076"/>
          <ac:spMkLst>
            <pc:docMk/>
            <pc:sldMk cId="3028281085" sldId="848"/>
            <ac:spMk id="5" creationId="{AB7D1BCC-E5EE-4F45-8F03-5970B4CB7153}"/>
          </ac:spMkLst>
        </pc:spChg>
        <pc:spChg chg="mod">
          <ac:chgData name="Talbot, Alex" userId="S::097445@croydon.gov.uk::2e359fc2-acc1-4d79-bd57-d83855c21d06" providerId="AD" clId="Web-{F4680309-B0A0-863D-F1F3-EFF1944E2C99}" dt="2019-05-16T16:03:23.898" v="289" actId="20577"/>
          <ac:spMkLst>
            <pc:docMk/>
            <pc:sldMk cId="3028281085" sldId="848"/>
            <ac:spMk id="6" creationId="{3DF7A815-E329-49C6-849A-3BD5388E7459}"/>
          </ac:spMkLst>
        </pc:spChg>
      </pc:sldChg>
      <pc:sldChg chg="addSp delSp modSp">
        <pc:chgData name="Talbot, Alex" userId="S::097445@croydon.gov.uk::2e359fc2-acc1-4d79-bd57-d83855c21d06" providerId="AD" clId="Web-{F4680309-B0A0-863D-F1F3-EFF1944E2C99}" dt="2019-05-16T16:17:15.575" v="685"/>
        <pc:sldMkLst>
          <pc:docMk/>
          <pc:sldMk cId="2078240094" sldId="851"/>
        </pc:sldMkLst>
        <pc:spChg chg="add del mod">
          <ac:chgData name="Talbot, Alex" userId="S::097445@croydon.gov.uk::2e359fc2-acc1-4d79-bd57-d83855c21d06" providerId="AD" clId="Web-{F4680309-B0A0-863D-F1F3-EFF1944E2C99}" dt="2019-05-16T16:16:25.465" v="674"/>
          <ac:spMkLst>
            <pc:docMk/>
            <pc:sldMk cId="2078240094" sldId="851"/>
            <ac:spMk id="3" creationId="{94616255-A588-488C-B6B0-FE1DBB3BCA59}"/>
          </ac:spMkLst>
        </pc:spChg>
        <pc:spChg chg="add mod">
          <ac:chgData name="Talbot, Alex" userId="S::097445@croydon.gov.uk::2e359fc2-acc1-4d79-bd57-d83855c21d06" providerId="AD" clId="Web-{F4680309-B0A0-863D-F1F3-EFF1944E2C99}" dt="2019-05-16T16:17:15.575" v="685"/>
          <ac:spMkLst>
            <pc:docMk/>
            <pc:sldMk cId="2078240094" sldId="851"/>
            <ac:spMk id="4" creationId="{06239909-9D7C-48FE-8306-8B6AD41B5EB7}"/>
          </ac:spMkLst>
        </pc:spChg>
        <pc:graphicFrameChg chg="mod modGraphic">
          <ac:chgData name="Talbot, Alex" userId="S::097445@croydon.gov.uk::2e359fc2-acc1-4d79-bd57-d83855c21d06" providerId="AD" clId="Web-{F4680309-B0A0-863D-F1F3-EFF1944E2C99}" dt="2019-05-16T16:15:37.746" v="667" actId="1076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Sp delSp modSp">
        <pc:chgData name="Talbot, Alex" userId="S::097445@croydon.gov.uk::2e359fc2-acc1-4d79-bd57-d83855c21d06" providerId="AD" clId="Web-{F4680309-B0A0-863D-F1F3-EFF1944E2C99}" dt="2019-05-16T16:15:06.293" v="663" actId="1076"/>
        <pc:sldMkLst>
          <pc:docMk/>
          <pc:sldMk cId="377194870" sldId="862"/>
        </pc:sldMkLst>
        <pc:spChg chg="mod">
          <ac:chgData name="Talbot, Alex" userId="S::097445@croydon.gov.uk::2e359fc2-acc1-4d79-bd57-d83855c21d06" providerId="AD" clId="Web-{F4680309-B0A0-863D-F1F3-EFF1944E2C99}" dt="2019-05-16T16:14:05.855" v="651" actId="20577"/>
          <ac:spMkLst>
            <pc:docMk/>
            <pc:sldMk cId="377194870" sldId="862"/>
            <ac:spMk id="2" creationId="{00000000-0000-0000-0000-000000000000}"/>
          </ac:spMkLst>
        </pc:spChg>
        <pc:spChg chg="add del mod">
          <ac:chgData name="Talbot, Alex" userId="S::097445@croydon.gov.uk::2e359fc2-acc1-4d79-bd57-d83855c21d06" providerId="AD" clId="Web-{F4680309-B0A0-863D-F1F3-EFF1944E2C99}" dt="2019-05-16T16:14:27.542" v="658"/>
          <ac:spMkLst>
            <pc:docMk/>
            <pc:sldMk cId="377194870" sldId="862"/>
            <ac:spMk id="5" creationId="{43267D06-6123-4DE2-B590-5956FC197EE1}"/>
          </ac:spMkLst>
        </pc:spChg>
        <pc:picChg chg="add mod">
          <ac:chgData name="Talbot, Alex" userId="S::097445@croydon.gov.uk::2e359fc2-acc1-4d79-bd57-d83855c21d06" providerId="AD" clId="Web-{F4680309-B0A0-863D-F1F3-EFF1944E2C99}" dt="2019-05-16T16:15:06.293" v="663" actId="1076"/>
          <ac:picMkLst>
            <pc:docMk/>
            <pc:sldMk cId="377194870" sldId="862"/>
            <ac:picMk id="3" creationId="{E942D9EE-7909-4ED3-BFF7-9EA66DD36132}"/>
          </ac:picMkLst>
        </pc:picChg>
      </pc:sldChg>
    </pc:docChg>
  </pc:docChgLst>
  <pc:docChgLst>
    <pc:chgData name="Risby,Sarah" userId="S::408901@croydon.gov.uk::434c49a4-c92f-4d4e-857a-80fdbf7500ae" providerId="AD" clId="Web-{91DF91AF-3666-AD80-9DA2-87C7D7D73B96}"/>
    <pc:docChg chg="addSld modSld sldOrd">
      <pc:chgData name="Risby,Sarah" userId="S::408901@croydon.gov.uk::434c49a4-c92f-4d4e-857a-80fdbf7500ae" providerId="AD" clId="Web-{91DF91AF-3666-AD80-9DA2-87C7D7D73B96}" dt="2019-05-15T11:56:02.840" v="7"/>
      <pc:docMkLst>
        <pc:docMk/>
      </pc:docMkLst>
      <pc:sldChg chg="addSp delSp modSp">
        <pc:chgData name="Risby,Sarah" userId="S::408901@croydon.gov.uk::434c49a4-c92f-4d4e-857a-80fdbf7500ae" providerId="AD" clId="Web-{91DF91AF-3666-AD80-9DA2-87C7D7D73B96}" dt="2019-05-15T11:55:23.465" v="3"/>
        <pc:sldMkLst>
          <pc:docMk/>
          <pc:sldMk cId="3759943738" sldId="846"/>
        </pc:sldMkLst>
        <pc:picChg chg="add del mod">
          <ac:chgData name="Risby,Sarah" userId="S::408901@croydon.gov.uk::434c49a4-c92f-4d4e-857a-80fdbf7500ae" providerId="AD" clId="Web-{91DF91AF-3666-AD80-9DA2-87C7D7D73B96}" dt="2019-05-15T11:55:23.465" v="3"/>
          <ac:picMkLst>
            <pc:docMk/>
            <pc:sldMk cId="3759943738" sldId="846"/>
            <ac:picMk id="3" creationId="{D09359FF-0939-4934-86FF-84FC31376B09}"/>
          </ac:picMkLst>
        </pc:picChg>
        <pc:picChg chg="add del mod">
          <ac:chgData name="Risby,Sarah" userId="S::408901@croydon.gov.uk::434c49a4-c92f-4d4e-857a-80fdbf7500ae" providerId="AD" clId="Web-{91DF91AF-3666-AD80-9DA2-87C7D7D73B96}" dt="2019-05-15T11:55:21.903" v="2"/>
          <ac:picMkLst>
            <pc:docMk/>
            <pc:sldMk cId="3759943738" sldId="846"/>
            <ac:picMk id="5" creationId="{2040CBDA-4021-4D2D-AB20-04E033DDF4C7}"/>
          </ac:picMkLst>
        </pc:picChg>
      </pc:sldChg>
      <pc:sldChg chg="addSp delSp modSp new ord">
        <pc:chgData name="Risby,Sarah" userId="S::408901@croydon.gov.uk::434c49a4-c92f-4d4e-857a-80fdbf7500ae" providerId="AD" clId="Web-{91DF91AF-3666-AD80-9DA2-87C7D7D73B96}" dt="2019-05-15T11:56:02.840" v="7"/>
        <pc:sldMkLst>
          <pc:docMk/>
          <pc:sldMk cId="596938243" sldId="849"/>
        </pc:sldMkLst>
        <pc:picChg chg="add del mod">
          <ac:chgData name="Risby,Sarah" userId="S::408901@croydon.gov.uk::434c49a4-c92f-4d4e-857a-80fdbf7500ae" providerId="AD" clId="Web-{91DF91AF-3666-AD80-9DA2-87C7D7D73B96}" dt="2019-05-15T11:56:02.840" v="7"/>
          <ac:picMkLst>
            <pc:docMk/>
            <pc:sldMk cId="596938243" sldId="849"/>
            <ac:picMk id="3" creationId="{44060550-7249-4F4F-B2FE-4C7FCCECF62C}"/>
          </ac:picMkLst>
        </pc:picChg>
      </pc:sldChg>
    </pc:docChg>
  </pc:docChgLst>
  <pc:docChgLst>
    <pc:chgData name="Handford, Gavin" userId="S::097600@croydon.gov.uk::2762523c-561f-4cff-8adc-44a15bce1ccb" providerId="AD" clId="Web-{ABDF770E-84B5-196D-02C3-2FE53638FB11}"/>
    <pc:docChg chg="modSld">
      <pc:chgData name="Handford, Gavin" userId="S::097600@croydon.gov.uk::2762523c-561f-4cff-8adc-44a15bce1ccb" providerId="AD" clId="Web-{ABDF770E-84B5-196D-02C3-2FE53638FB11}" dt="2019-05-17T14:40:48.586" v="26"/>
      <pc:docMkLst>
        <pc:docMk/>
      </pc:docMkLst>
      <pc:sldChg chg="modSp">
        <pc:chgData name="Handford, Gavin" userId="S::097600@croydon.gov.uk::2762523c-561f-4cff-8adc-44a15bce1ccb" providerId="AD" clId="Web-{ABDF770E-84B5-196D-02C3-2FE53638FB11}" dt="2019-05-17T14:40:11.133" v="22"/>
        <pc:sldMkLst>
          <pc:docMk/>
          <pc:sldMk cId="2078240094" sldId="851"/>
        </pc:sldMkLst>
        <pc:graphicFrameChg chg="mod modGraphic">
          <ac:chgData name="Handford, Gavin" userId="S::097600@croydon.gov.uk::2762523c-561f-4cff-8adc-44a15bce1ccb" providerId="AD" clId="Web-{ABDF770E-84B5-196D-02C3-2FE53638FB11}" dt="2019-05-17T14:40:11.133" v="22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modSp">
        <pc:chgData name="Handford, Gavin" userId="S::097600@croydon.gov.uk::2762523c-561f-4cff-8adc-44a15bce1ccb" providerId="AD" clId="Web-{ABDF770E-84B5-196D-02C3-2FE53638FB11}" dt="2019-05-17T14:40:48.586" v="26"/>
        <pc:sldMkLst>
          <pc:docMk/>
          <pc:sldMk cId="774521525" sldId="855"/>
        </pc:sldMkLst>
        <pc:graphicFrameChg chg="mod modGraphic">
          <ac:chgData name="Handford, Gavin" userId="S::097600@croydon.gov.uk::2762523c-561f-4cff-8adc-44a15bce1ccb" providerId="AD" clId="Web-{ABDF770E-84B5-196D-02C3-2FE53638FB11}" dt="2019-05-17T14:40:48.586" v="26"/>
          <ac:graphicFrameMkLst>
            <pc:docMk/>
            <pc:sldMk cId="774521525" sldId="855"/>
            <ac:graphicFrameMk id="4" creationId="{00000000-0000-0000-0000-000000000000}"/>
          </ac:graphicFrameMkLst>
        </pc:graphicFrameChg>
      </pc:sldChg>
    </pc:docChg>
  </pc:docChgLst>
  <pc:docChgLst>
    <pc:chgData name="Wheeler, Julie" userId="S::249225@croydon.gov.uk::845ae9f3-6c3c-40f1-a9ad-64c4bf2350e7" providerId="AD" clId="Web-{4556D956-59B6-3A1D-3A54-34402163D14D}"/>
    <pc:docChg chg="addSld modSld">
      <pc:chgData name="Wheeler, Julie" userId="S::249225@croydon.gov.uk::845ae9f3-6c3c-40f1-a9ad-64c4bf2350e7" providerId="AD" clId="Web-{4556D956-59B6-3A1D-3A54-34402163D14D}" dt="2019-05-09T08:35:14.555" v="94" actId="20577"/>
      <pc:docMkLst>
        <pc:docMk/>
      </pc:docMkLst>
      <pc:sldChg chg="modSp">
        <pc:chgData name="Wheeler, Julie" userId="S::249225@croydon.gov.uk::845ae9f3-6c3c-40f1-a9ad-64c4bf2350e7" providerId="AD" clId="Web-{4556D956-59B6-3A1D-3A54-34402163D14D}" dt="2019-05-09T08:33:44.524" v="13" actId="20577"/>
        <pc:sldMkLst>
          <pc:docMk/>
          <pc:sldMk cId="241086178" sldId="844"/>
        </pc:sldMkLst>
        <pc:spChg chg="mod">
          <ac:chgData name="Wheeler, Julie" userId="S::249225@croydon.gov.uk::845ae9f3-6c3c-40f1-a9ad-64c4bf2350e7" providerId="AD" clId="Web-{4556D956-59B6-3A1D-3A54-34402163D14D}" dt="2019-05-09T08:33:44.524" v="13" actId="20577"/>
          <ac:spMkLst>
            <pc:docMk/>
            <pc:sldMk cId="241086178" sldId="844"/>
            <ac:spMk id="2" creationId="{41137598-CD08-4C48-A92D-B67A5B821361}"/>
          </ac:spMkLst>
        </pc:spChg>
      </pc:sldChg>
      <pc:sldChg chg="modSp new">
        <pc:chgData name="Wheeler, Julie" userId="S::249225@croydon.gov.uk::845ae9f3-6c3c-40f1-a9ad-64c4bf2350e7" providerId="AD" clId="Web-{4556D956-59B6-3A1D-3A54-34402163D14D}" dt="2019-05-09T08:35:14.555" v="94" actId="20577"/>
        <pc:sldMkLst>
          <pc:docMk/>
          <pc:sldMk cId="3003548362" sldId="845"/>
        </pc:sldMkLst>
        <pc:spChg chg="mod">
          <ac:chgData name="Wheeler, Julie" userId="S::249225@croydon.gov.uk::845ae9f3-6c3c-40f1-a9ad-64c4bf2350e7" providerId="AD" clId="Web-{4556D956-59B6-3A1D-3A54-34402163D14D}" dt="2019-05-09T08:35:14.555" v="94" actId="20577"/>
          <ac:spMkLst>
            <pc:docMk/>
            <pc:sldMk cId="3003548362" sldId="845"/>
            <ac:spMk id="2" creationId="{951500AA-22E8-4C43-945A-BA9517550FDA}"/>
          </ac:spMkLst>
        </pc:spChg>
      </pc:sldChg>
      <pc:sldChg chg="modSp new">
        <pc:chgData name="Wheeler, Julie" userId="S::249225@croydon.gov.uk::845ae9f3-6c3c-40f1-a9ad-64c4bf2350e7" providerId="AD" clId="Web-{4556D956-59B6-3A1D-3A54-34402163D14D}" dt="2019-05-09T08:35:06.227" v="92" actId="20577"/>
        <pc:sldMkLst>
          <pc:docMk/>
          <pc:sldMk cId="3759943738" sldId="846"/>
        </pc:sldMkLst>
        <pc:spChg chg="mod">
          <ac:chgData name="Wheeler, Julie" userId="S::249225@croydon.gov.uk::845ae9f3-6c3c-40f1-a9ad-64c4bf2350e7" providerId="AD" clId="Web-{4556D956-59B6-3A1D-3A54-34402163D14D}" dt="2019-05-09T08:35:06.227" v="92" actId="20577"/>
          <ac:spMkLst>
            <pc:docMk/>
            <pc:sldMk cId="3759943738" sldId="846"/>
            <ac:spMk id="2" creationId="{F4D5E465-BCCB-44B0-A30E-848F13A667CD}"/>
          </ac:spMkLst>
        </pc:spChg>
      </pc:sldChg>
    </pc:docChg>
  </pc:docChgLst>
  <pc:docChgLst>
    <pc:chgData name="Risby,Sarah" userId="S::408901@croydon.gov.uk::434c49a4-c92f-4d4e-857a-80fdbf7500ae" providerId="AD" clId="Web-{897C012E-9B7F-E130-F1CC-2764C92CF902}"/>
    <pc:docChg chg="modSld">
      <pc:chgData name="Risby,Sarah" userId="S::408901@croydon.gov.uk::434c49a4-c92f-4d4e-857a-80fdbf7500ae" providerId="AD" clId="Web-{897C012E-9B7F-E130-F1CC-2764C92CF902}" dt="2019-05-16T13:29:26.440" v="0" actId="20577"/>
      <pc:docMkLst>
        <pc:docMk/>
      </pc:docMkLst>
      <pc:sldChg chg="modSp">
        <pc:chgData name="Risby,Sarah" userId="S::408901@croydon.gov.uk::434c49a4-c92f-4d4e-857a-80fdbf7500ae" providerId="AD" clId="Web-{897C012E-9B7F-E130-F1CC-2764C92CF902}" dt="2019-05-16T13:29:26.440" v="0" actId="20577"/>
        <pc:sldMkLst>
          <pc:docMk/>
          <pc:sldMk cId="2534692338" sldId="866"/>
        </pc:sldMkLst>
        <pc:spChg chg="mod">
          <ac:chgData name="Risby,Sarah" userId="S::408901@croydon.gov.uk::434c49a4-c92f-4d4e-857a-80fdbf7500ae" providerId="AD" clId="Web-{897C012E-9B7F-E130-F1CC-2764C92CF902}" dt="2019-05-16T13:29:26.440" v="0" actId="20577"/>
          <ac:spMkLst>
            <pc:docMk/>
            <pc:sldMk cId="2534692338" sldId="866"/>
            <ac:spMk id="2" creationId="{00000000-0000-0000-0000-000000000000}"/>
          </ac:spMkLst>
        </pc:spChg>
      </pc:sldChg>
    </pc:docChg>
  </pc:docChgLst>
  <pc:docChgLst>
    <pc:chgData name="Butt, Henry" userId="S::097444@croydon.gov.uk::5ded9784-7b69-4809-b6c2-b1719bef27bf" providerId="AD" clId="Web-{C83EC9DB-A828-A48B-A9C0-1A683D77176A}"/>
    <pc:docChg chg="modSld">
      <pc:chgData name="Butt, Henry" userId="S::097444@croydon.gov.uk::5ded9784-7b69-4809-b6c2-b1719bef27bf" providerId="AD" clId="Web-{C83EC9DB-A828-A48B-A9C0-1A683D77176A}" dt="2019-05-15T09:37:25.469" v="41" actId="20577"/>
      <pc:docMkLst>
        <pc:docMk/>
      </pc:docMkLst>
      <pc:sldChg chg="modSp modNotes">
        <pc:chgData name="Butt, Henry" userId="S::097444@croydon.gov.uk::5ded9784-7b69-4809-b6c2-b1719bef27bf" providerId="AD" clId="Web-{C83EC9DB-A828-A48B-A9C0-1A683D77176A}" dt="2019-05-15T09:37:04.484" v="36" actId="20577"/>
        <pc:sldMkLst>
          <pc:docMk/>
          <pc:sldMk cId="3029233649" sldId="847"/>
        </pc:sldMkLst>
        <pc:spChg chg="mod">
          <ac:chgData name="Butt, Henry" userId="S::097444@croydon.gov.uk::5ded9784-7b69-4809-b6c2-b1719bef27bf" providerId="AD" clId="Web-{C83EC9DB-A828-A48B-A9C0-1A683D77176A}" dt="2019-05-15T09:37:04.484" v="36" actId="20577"/>
          <ac:spMkLst>
            <pc:docMk/>
            <pc:sldMk cId="3029233649" sldId="847"/>
            <ac:spMk id="3" creationId="{61674704-8D6F-4584-834B-589AE8AABDB8}"/>
          </ac:spMkLst>
        </pc:spChg>
        <pc:spChg chg="mod">
          <ac:chgData name="Butt, Henry" userId="S::097444@croydon.gov.uk::5ded9784-7b69-4809-b6c2-b1719bef27bf" providerId="AD" clId="Web-{C83EC9DB-A828-A48B-A9C0-1A683D77176A}" dt="2019-05-15T09:36:20.860" v="23" actId="20577"/>
          <ac:spMkLst>
            <pc:docMk/>
            <pc:sldMk cId="3029233649" sldId="847"/>
            <ac:spMk id="7" creationId="{BFFCF9F7-5DCB-4704-80A9-E9EF478C1648}"/>
          </ac:spMkLst>
        </pc:spChg>
      </pc:sldChg>
      <pc:sldChg chg="modSp modNotes">
        <pc:chgData name="Butt, Henry" userId="S::097444@croydon.gov.uk::5ded9784-7b69-4809-b6c2-b1719bef27bf" providerId="AD" clId="Web-{C83EC9DB-A828-A48B-A9C0-1A683D77176A}" dt="2019-05-15T09:37:24.250" v="39" actId="20577"/>
        <pc:sldMkLst>
          <pc:docMk/>
          <pc:sldMk cId="3028281085" sldId="848"/>
        </pc:sldMkLst>
        <pc:spChg chg="mod">
          <ac:chgData name="Butt, Henry" userId="S::097444@croydon.gov.uk::5ded9784-7b69-4809-b6c2-b1719bef27bf" providerId="AD" clId="Web-{C83EC9DB-A828-A48B-A9C0-1A683D77176A}" dt="2019-05-15T09:37:24.250" v="39" actId="20577"/>
          <ac:spMkLst>
            <pc:docMk/>
            <pc:sldMk cId="3028281085" sldId="848"/>
            <ac:spMk id="6" creationId="{3DF7A815-E329-49C6-849A-3BD5388E7459}"/>
          </ac:spMkLst>
        </pc:spChg>
      </pc:sldChg>
    </pc:docChg>
  </pc:docChgLst>
  <pc:docChgLst>
    <pc:chgData name="Wheeler, Julie" userId="S::249225@croydon.gov.uk::845ae9f3-6c3c-40f1-a9ad-64c4bf2350e7" providerId="AD" clId="Web-{C58EE5A3-C9DE-9CE3-0445-1AC7D708EEB9}"/>
    <pc:docChg chg="addSld">
      <pc:chgData name="Wheeler, Julie" userId="S::249225@croydon.gov.uk::845ae9f3-6c3c-40f1-a9ad-64c4bf2350e7" providerId="AD" clId="Web-{C58EE5A3-C9DE-9CE3-0445-1AC7D708EEB9}" dt="2019-05-08T11:48:51.638" v="0"/>
      <pc:docMkLst>
        <pc:docMk/>
      </pc:docMkLst>
      <pc:sldChg chg="new">
        <pc:chgData name="Wheeler, Julie" userId="S::249225@croydon.gov.uk::845ae9f3-6c3c-40f1-a9ad-64c4bf2350e7" providerId="AD" clId="Web-{C58EE5A3-C9DE-9CE3-0445-1AC7D708EEB9}" dt="2019-05-08T11:48:51.638" v="0"/>
        <pc:sldMkLst>
          <pc:docMk/>
          <pc:sldMk cId="241086178" sldId="844"/>
        </pc:sldMkLst>
      </pc:sldChg>
    </pc:docChg>
  </pc:docChgLst>
  <pc:docChgLst>
    <pc:chgData name="Talbot, Alex" userId="S::097445@croydon.gov.uk::2e359fc2-acc1-4d79-bd57-d83855c21d06" providerId="AD" clId="Web-{09742C2D-3B96-23C4-C836-C9A18D98ADCD}"/>
    <pc:docChg chg="modSld sldOrd">
      <pc:chgData name="Talbot, Alex" userId="S::097445@croydon.gov.uk::2e359fc2-acc1-4d79-bd57-d83855c21d06" providerId="AD" clId="Web-{09742C2D-3B96-23C4-C836-C9A18D98ADCD}" dt="2019-05-16T16:58:35.331" v="2188"/>
      <pc:docMkLst>
        <pc:docMk/>
      </pc:docMkLst>
      <pc:sldChg chg="ord">
        <pc:chgData name="Talbot, Alex" userId="S::097445@croydon.gov.uk::2e359fc2-acc1-4d79-bd57-d83855c21d06" providerId="AD" clId="Web-{09742C2D-3B96-23C4-C836-C9A18D98ADCD}" dt="2019-05-16T16:35:49.983" v="817"/>
        <pc:sldMkLst>
          <pc:docMk/>
          <pc:sldMk cId="3003548362" sldId="845"/>
        </pc:sldMkLst>
      </pc:sldChg>
      <pc:sldChg chg="addSp delSp modSp">
        <pc:chgData name="Talbot, Alex" userId="S::097445@croydon.gov.uk::2e359fc2-acc1-4d79-bd57-d83855c21d06" providerId="AD" clId="Web-{09742C2D-3B96-23C4-C836-C9A18D98ADCD}" dt="2019-05-16T16:32:11.233" v="814" actId="20577"/>
        <pc:sldMkLst>
          <pc:docMk/>
          <pc:sldMk cId="2078240094" sldId="851"/>
        </pc:sldMkLst>
        <pc:spChg chg="add del mod">
          <ac:chgData name="Talbot, Alex" userId="S::097445@croydon.gov.uk::2e359fc2-acc1-4d79-bd57-d83855c21d06" providerId="AD" clId="Web-{09742C2D-3B96-23C4-C836-C9A18D98ADCD}" dt="2019-05-16T16:32:11.233" v="814" actId="20577"/>
          <ac:spMkLst>
            <pc:docMk/>
            <pc:sldMk cId="2078240094" sldId="851"/>
            <ac:spMk id="3" creationId="{291F436E-8F24-45B6-9922-36B8C51E5637}"/>
          </ac:spMkLst>
        </pc:spChg>
        <pc:spChg chg="del">
          <ac:chgData name="Talbot, Alex" userId="S::097445@croydon.gov.uk::2e359fc2-acc1-4d79-bd57-d83855c21d06" providerId="AD" clId="Web-{09742C2D-3B96-23C4-C836-C9A18D98ADCD}" dt="2019-05-16T16:19:03.152" v="0"/>
          <ac:spMkLst>
            <pc:docMk/>
            <pc:sldMk cId="2078240094" sldId="851"/>
            <ac:spMk id="4" creationId="{06239909-9D7C-48FE-8306-8B6AD41B5EB7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24:54.919" v="668"/>
          <ac:spMkLst>
            <pc:docMk/>
            <pc:sldMk cId="2078240094" sldId="851"/>
            <ac:spMk id="6" creationId="{6A699014-6375-41DD-9D7A-E6138B9C286E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24:48.028" v="663"/>
          <ac:spMkLst>
            <pc:docMk/>
            <pc:sldMk cId="2078240094" sldId="851"/>
            <ac:spMk id="7" creationId="{6FC836CF-F909-4F94-AA98-16A775F5FB01}"/>
          </ac:spMkLst>
        </pc:spChg>
        <pc:graphicFrameChg chg="mod modGraphic">
          <ac:chgData name="Talbot, Alex" userId="S::097445@croydon.gov.uk::2e359fc2-acc1-4d79-bd57-d83855c21d06" providerId="AD" clId="Web-{09742C2D-3B96-23C4-C836-C9A18D98ADCD}" dt="2019-05-16T16:25:06.607" v="691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Sp modSp">
        <pc:chgData name="Talbot, Alex" userId="S::097445@croydon.gov.uk::2e359fc2-acc1-4d79-bd57-d83855c21d06" providerId="AD" clId="Web-{09742C2D-3B96-23C4-C836-C9A18D98ADCD}" dt="2019-05-16T16:45:47.298" v="1647" actId="20577"/>
        <pc:sldMkLst>
          <pc:docMk/>
          <pc:sldMk cId="1453544522" sldId="857"/>
        </pc:sldMkLst>
        <pc:spChg chg="mod">
          <ac:chgData name="Talbot, Alex" userId="S::097445@croydon.gov.uk::2e359fc2-acc1-4d79-bd57-d83855c21d06" providerId="AD" clId="Web-{09742C2D-3B96-23C4-C836-C9A18D98ADCD}" dt="2019-05-16T16:45:47.298" v="1647" actId="20577"/>
          <ac:spMkLst>
            <pc:docMk/>
            <pc:sldMk cId="1453544522" sldId="857"/>
            <ac:spMk id="2" creationId="{951500AA-22E8-4C43-945A-BA9517550FDA}"/>
          </ac:spMkLst>
        </pc:spChg>
        <pc:spChg chg="add mod">
          <ac:chgData name="Talbot, Alex" userId="S::097445@croydon.gov.uk::2e359fc2-acc1-4d79-bd57-d83855c21d06" providerId="AD" clId="Web-{09742C2D-3B96-23C4-C836-C9A18D98ADCD}" dt="2019-05-16T16:43:28.110" v="1643" actId="20577"/>
          <ac:spMkLst>
            <pc:docMk/>
            <pc:sldMk cId="1453544522" sldId="857"/>
            <ac:spMk id="3" creationId="{D267773A-49D4-4172-B174-06D991F94DF1}"/>
          </ac:spMkLst>
        </pc:spChg>
      </pc:sldChg>
      <pc:sldChg chg="addSp delSp modSp ord">
        <pc:chgData name="Talbot, Alex" userId="S::097445@croydon.gov.uk::2e359fc2-acc1-4d79-bd57-d83855c21d06" providerId="AD" clId="Web-{09742C2D-3B96-23C4-C836-C9A18D98ADCD}" dt="2019-05-16T16:58:35.331" v="2188"/>
        <pc:sldMkLst>
          <pc:docMk/>
          <pc:sldMk cId="3796351993" sldId="863"/>
        </pc:sldMkLst>
        <pc:spChg chg="mod">
          <ac:chgData name="Talbot, Alex" userId="S::097445@croydon.gov.uk::2e359fc2-acc1-4d79-bd57-d83855c21d06" providerId="AD" clId="Web-{09742C2D-3B96-23C4-C836-C9A18D98ADCD}" dt="2019-05-16T16:47:15.832" v="1717" actId="14100"/>
          <ac:spMkLst>
            <pc:docMk/>
            <pc:sldMk cId="3796351993" sldId="863"/>
            <ac:spMk id="2" creationId="{951500AA-22E8-4C43-945A-BA9517550FDA}"/>
          </ac:spMkLst>
        </pc:spChg>
        <pc:spChg chg="add del mod">
          <ac:chgData name="Talbot, Alex" userId="S::097445@croydon.gov.uk::2e359fc2-acc1-4d79-bd57-d83855c21d06" providerId="AD" clId="Web-{09742C2D-3B96-23C4-C836-C9A18D98ADCD}" dt="2019-05-16T16:38:41.906" v="833"/>
          <ac:spMkLst>
            <pc:docMk/>
            <pc:sldMk cId="3796351993" sldId="863"/>
            <ac:spMk id="3" creationId="{BFB3BA00-4B66-44A2-BF0A-C9DB9ED334EA}"/>
          </ac:spMkLst>
        </pc:spChg>
        <pc:graphicFrameChg chg="add del mod modGraphic">
          <ac:chgData name="Talbot, Alex" userId="S::097445@croydon.gov.uk::2e359fc2-acc1-4d79-bd57-d83855c21d06" providerId="AD" clId="Web-{09742C2D-3B96-23C4-C836-C9A18D98ADCD}" dt="2019-05-16T16:58:35.331" v="2188"/>
          <ac:graphicFrameMkLst>
            <pc:docMk/>
            <pc:sldMk cId="3796351993" sldId="863"/>
            <ac:graphicFrameMk id="4" creationId="{2E90F80E-A5F6-4858-BFA7-BE7B445F2629}"/>
          </ac:graphicFrameMkLst>
        </pc:graphicFrameChg>
      </pc:sldChg>
      <pc:sldChg chg="modSp">
        <pc:chgData name="Talbot, Alex" userId="S::097445@croydon.gov.uk::2e359fc2-acc1-4d79-bd57-d83855c21d06" providerId="AD" clId="Web-{09742C2D-3B96-23C4-C836-C9A18D98ADCD}" dt="2019-05-16T16:46:34.548" v="1716" actId="20577"/>
        <pc:sldMkLst>
          <pc:docMk/>
          <pc:sldMk cId="3448438436" sldId="868"/>
        </pc:sldMkLst>
        <pc:spChg chg="mod">
          <ac:chgData name="Talbot, Alex" userId="S::097445@croydon.gov.uk::2e359fc2-acc1-4d79-bd57-d83855c21d06" providerId="AD" clId="Web-{09742C2D-3B96-23C4-C836-C9A18D98ADCD}" dt="2019-05-16T16:46:34.548" v="1716" actId="20577"/>
          <ac:spMkLst>
            <pc:docMk/>
            <pc:sldMk cId="3448438436" sldId="868"/>
            <ac:spMk id="2" creationId="{8845CE91-1DCF-480D-AF7B-599FDAB39CC4}"/>
          </ac:spMkLst>
        </pc:spChg>
      </pc:sldChg>
      <pc:sldChg chg="addSp delSp modSp">
        <pc:chgData name="Talbot, Alex" userId="S::097445@croydon.gov.uk::2e359fc2-acc1-4d79-bd57-d83855c21d06" providerId="AD" clId="Web-{09742C2D-3B96-23C4-C836-C9A18D98ADCD}" dt="2019-05-16T16:57:21.362" v="2178" actId="20577"/>
        <pc:sldMkLst>
          <pc:docMk/>
          <pc:sldMk cId="1449005804" sldId="869"/>
        </pc:sldMkLst>
        <pc:spChg chg="mod">
          <ac:chgData name="Talbot, Alex" userId="S::097445@croydon.gov.uk::2e359fc2-acc1-4d79-bd57-d83855c21d06" providerId="AD" clId="Web-{09742C2D-3B96-23C4-C836-C9A18D98ADCD}" dt="2019-05-16T16:57:21.362" v="2178" actId="20577"/>
          <ac:spMkLst>
            <pc:docMk/>
            <pc:sldMk cId="1449005804" sldId="869"/>
            <ac:spMk id="3" creationId="{00000000-0000-0000-0000-000000000000}"/>
          </ac:spMkLst>
        </pc:spChg>
        <pc:spChg chg="add del">
          <ac:chgData name="Talbot, Alex" userId="S::097445@croydon.gov.uk::2e359fc2-acc1-4d79-bd57-d83855c21d06" providerId="AD" clId="Web-{09742C2D-3B96-23C4-C836-C9A18D98ADCD}" dt="2019-05-16T16:55:16.690" v="2068"/>
          <ac:spMkLst>
            <pc:docMk/>
            <pc:sldMk cId="1449005804" sldId="869"/>
            <ac:spMk id="5" creationId="{63BB8342-4DDA-41D2-9C40-86D1842F81F4}"/>
          </ac:spMkLst>
        </pc:spChg>
      </pc:sldChg>
    </pc:docChg>
  </pc:docChgLst>
  <pc:docChgLst>
    <pc:chgData name="Talbot, Alex" userId="S::097445@croydon.gov.uk::2e359fc2-acc1-4d79-bd57-d83855c21d06" providerId="AD" clId="Web-{41964821-C9D3-43A8-B399-BD1C8AAC41E3}"/>
    <pc:docChg chg="addSld modSld sldOrd">
      <pc:chgData name="Talbot, Alex" userId="S::097445@croydon.gov.uk::2e359fc2-acc1-4d79-bd57-d83855c21d06" providerId="AD" clId="Web-{41964821-C9D3-43A8-B399-BD1C8AAC41E3}" dt="2019-05-20T10:49:49.676" v="121"/>
      <pc:docMkLst>
        <pc:docMk/>
      </pc:docMkLst>
      <pc:sldChg chg="modSp">
        <pc:chgData name="Talbot, Alex" userId="S::097445@croydon.gov.uk::2e359fc2-acc1-4d79-bd57-d83855c21d06" providerId="AD" clId="Web-{41964821-C9D3-43A8-B399-BD1C8AAC41E3}" dt="2019-05-20T10:49:49.676" v="121"/>
        <pc:sldMkLst>
          <pc:docMk/>
          <pc:sldMk cId="2078240094" sldId="851"/>
        </pc:sldMkLst>
        <pc:graphicFrameChg chg="mod modGraphic">
          <ac:chgData name="Talbot, Alex" userId="S::097445@croydon.gov.uk::2e359fc2-acc1-4d79-bd57-d83855c21d06" providerId="AD" clId="Web-{41964821-C9D3-43A8-B399-BD1C8AAC41E3}" dt="2019-05-20T10:49:49.676" v="121"/>
          <ac:graphicFrameMkLst>
            <pc:docMk/>
            <pc:sldMk cId="2078240094" sldId="851"/>
            <ac:graphicFrameMk id="5" creationId="{00000000-0000-0000-0000-000000000000}"/>
          </ac:graphicFrameMkLst>
        </pc:graphicFrameChg>
      </pc:sldChg>
      <pc:sldChg chg="add ord replId">
        <pc:chgData name="Talbot, Alex" userId="S::097445@croydon.gov.uk::2e359fc2-acc1-4d79-bd57-d83855c21d06" providerId="AD" clId="Web-{41964821-C9D3-43A8-B399-BD1C8AAC41E3}" dt="2019-05-20T09:43:56.359" v="1"/>
        <pc:sldMkLst>
          <pc:docMk/>
          <pc:sldMk cId="996276529" sldId="873"/>
        </pc:sldMkLst>
      </pc:sldChg>
    </pc:docChg>
  </pc:docChgLst>
  <pc:docChgLst>
    <pc:chgData name="Talbot, Alex" userId="S::097445@croydon.gov.uk::2e359fc2-acc1-4d79-bd57-d83855c21d06" providerId="AD" clId="Web-{ED4FD1A6-F1DB-B049-FA8E-A2C78D2FB094}"/>
    <pc:docChg chg="modSld sldOrd">
      <pc:chgData name="Talbot, Alex" userId="S::097445@croydon.gov.uk::2e359fc2-acc1-4d79-bd57-d83855c21d06" providerId="AD" clId="Web-{ED4FD1A6-F1DB-B049-FA8E-A2C78D2FB094}" dt="2019-05-17T15:40:47.354" v="9"/>
      <pc:docMkLst>
        <pc:docMk/>
      </pc:docMkLst>
      <pc:sldChg chg="modSp">
        <pc:chgData name="Talbot, Alex" userId="S::097445@croydon.gov.uk::2e359fc2-acc1-4d79-bd57-d83855c21d06" providerId="AD" clId="Web-{ED4FD1A6-F1DB-B049-FA8E-A2C78D2FB094}" dt="2019-05-17T15:39:24.371" v="2"/>
        <pc:sldMkLst>
          <pc:docMk/>
          <pc:sldMk cId="1734698269" sldId="850"/>
        </pc:sldMkLst>
        <pc:graphicFrameChg chg="mod modGraphic">
          <ac:chgData name="Talbot, Alex" userId="S::097445@croydon.gov.uk::2e359fc2-acc1-4d79-bd57-d83855c21d06" providerId="AD" clId="Web-{ED4FD1A6-F1DB-B049-FA8E-A2C78D2FB094}" dt="2019-05-17T15:39:24.371" v="2"/>
          <ac:graphicFrameMkLst>
            <pc:docMk/>
            <pc:sldMk cId="1734698269" sldId="850"/>
            <ac:graphicFrameMk id="12" creationId="{00000000-0000-0000-0000-000000000000}"/>
          </ac:graphicFrameMkLst>
        </pc:graphicFrameChg>
      </pc:sldChg>
      <pc:sldChg chg="ord">
        <pc:chgData name="Talbot, Alex" userId="S::097445@croydon.gov.uk::2e359fc2-acc1-4d79-bd57-d83855c21d06" providerId="AD" clId="Web-{ED4FD1A6-F1DB-B049-FA8E-A2C78D2FB094}" dt="2019-05-17T15:40:19.355" v="7"/>
        <pc:sldMkLst>
          <pc:docMk/>
          <pc:sldMk cId="1593550025" sldId="856"/>
        </pc:sldMkLst>
      </pc:sldChg>
      <pc:sldChg chg="ord">
        <pc:chgData name="Talbot, Alex" userId="S::097445@croydon.gov.uk::2e359fc2-acc1-4d79-bd57-d83855c21d06" providerId="AD" clId="Web-{ED4FD1A6-F1DB-B049-FA8E-A2C78D2FB094}" dt="2019-05-17T15:40:47.354" v="9"/>
        <pc:sldMkLst>
          <pc:docMk/>
          <pc:sldMk cId="1453544522" sldId="857"/>
        </pc:sldMkLst>
      </pc:sldChg>
      <pc:sldChg chg="ord">
        <pc:chgData name="Talbot, Alex" userId="S::097445@croydon.gov.uk::2e359fc2-acc1-4d79-bd57-d83855c21d06" providerId="AD" clId="Web-{ED4FD1A6-F1DB-B049-FA8E-A2C78D2FB094}" dt="2019-05-17T15:39:51.699" v="3"/>
        <pc:sldMkLst>
          <pc:docMk/>
          <pc:sldMk cId="464678197" sldId="858"/>
        </pc:sldMkLst>
      </pc:sldChg>
      <pc:sldChg chg="ord">
        <pc:chgData name="Talbot, Alex" userId="S::097445@croydon.gov.uk::2e359fc2-acc1-4d79-bd57-d83855c21d06" providerId="AD" clId="Web-{ED4FD1A6-F1DB-B049-FA8E-A2C78D2FB094}" dt="2019-05-17T15:40:04.433" v="4"/>
        <pc:sldMkLst>
          <pc:docMk/>
          <pc:sldMk cId="3448438436" sldId="868"/>
        </pc:sldMkLst>
      </pc:sldChg>
      <pc:sldChg chg="ord">
        <pc:chgData name="Talbot, Alex" userId="S::097445@croydon.gov.uk::2e359fc2-acc1-4d79-bd57-d83855c21d06" providerId="AD" clId="Web-{ED4FD1A6-F1DB-B049-FA8E-A2C78D2FB094}" dt="2019-05-17T15:40:25.120" v="8"/>
        <pc:sldMkLst>
          <pc:docMk/>
          <pc:sldMk cId="2921125348" sldId="870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8D4024E-8CF0-483B-9A76-26839AC61C4B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024864DF-D89A-4FB7-9433-3AC968014BF3}">
      <dgm:prSet phldrT="[Text]"/>
      <dgm:spPr/>
      <dgm:t>
        <a:bodyPr/>
        <a:lstStyle/>
        <a:p>
          <a:r>
            <a:rPr lang="en-GB" dirty="0" smtClean="0"/>
            <a:t>Carers Partnership Board</a:t>
          </a:r>
          <a:endParaRPr lang="en-GB" dirty="0"/>
        </a:p>
      </dgm:t>
    </dgm:pt>
    <dgm:pt modelId="{1582FCC1-CB26-41AC-8F47-34A5E37AAA92}" type="parTrans" cxnId="{EFB1E72B-B63B-45FA-8AB0-16CE0193459B}">
      <dgm:prSet/>
      <dgm:spPr/>
      <dgm:t>
        <a:bodyPr/>
        <a:lstStyle/>
        <a:p>
          <a:endParaRPr lang="en-GB"/>
        </a:p>
      </dgm:t>
    </dgm:pt>
    <dgm:pt modelId="{7EA9ED1A-D39D-473F-B079-2145947DA5AE}" type="sibTrans" cxnId="{EFB1E72B-B63B-45FA-8AB0-16CE0193459B}">
      <dgm:prSet/>
      <dgm:spPr/>
      <dgm:t>
        <a:bodyPr/>
        <a:lstStyle/>
        <a:p>
          <a:endParaRPr lang="en-GB"/>
        </a:p>
      </dgm:t>
    </dgm:pt>
    <dgm:pt modelId="{FD354AF1-B734-49BF-B015-868266A63B8D}">
      <dgm:prSet phldrT="[Text]"/>
      <dgm:spPr/>
      <dgm:t>
        <a:bodyPr/>
        <a:lstStyle/>
        <a:p>
          <a:r>
            <a:rPr lang="en-GB" dirty="0" smtClean="0"/>
            <a:t>Planning workshop </a:t>
          </a:r>
          <a:endParaRPr lang="en-GB" dirty="0"/>
        </a:p>
      </dgm:t>
    </dgm:pt>
    <dgm:pt modelId="{20207AD1-3F52-4841-84B2-3404149D4E9A}" type="parTrans" cxnId="{ACE9AE04-992B-4BE3-ADB6-B5D077D9DB62}">
      <dgm:prSet/>
      <dgm:spPr/>
      <dgm:t>
        <a:bodyPr/>
        <a:lstStyle/>
        <a:p>
          <a:endParaRPr lang="en-GB"/>
        </a:p>
      </dgm:t>
    </dgm:pt>
    <dgm:pt modelId="{9A63E0DD-0F8E-4484-B660-7FF4AEDEB540}" type="sibTrans" cxnId="{ACE9AE04-992B-4BE3-ADB6-B5D077D9DB62}">
      <dgm:prSet/>
      <dgm:spPr/>
      <dgm:t>
        <a:bodyPr/>
        <a:lstStyle/>
        <a:p>
          <a:endParaRPr lang="en-GB"/>
        </a:p>
      </dgm:t>
    </dgm:pt>
    <dgm:pt modelId="{00E76F43-0A11-4788-8088-B639DF1D5C06}">
      <dgm:prSet phldrT="[Text]"/>
      <dgm:spPr/>
      <dgm:t>
        <a:bodyPr/>
        <a:lstStyle/>
        <a:p>
          <a:r>
            <a:rPr lang="en-GB" dirty="0" smtClean="0"/>
            <a:t>3 focus groups</a:t>
          </a:r>
          <a:endParaRPr lang="en-GB" dirty="0"/>
        </a:p>
      </dgm:t>
    </dgm:pt>
    <dgm:pt modelId="{02045601-4A46-48F4-873B-AB0C01FE4648}" type="parTrans" cxnId="{6B4B8785-3EDE-4088-9B3F-09C2960EAF0B}">
      <dgm:prSet/>
      <dgm:spPr/>
      <dgm:t>
        <a:bodyPr/>
        <a:lstStyle/>
        <a:p>
          <a:endParaRPr lang="en-GB"/>
        </a:p>
      </dgm:t>
    </dgm:pt>
    <dgm:pt modelId="{EEE7CBF8-6FB6-4777-9B29-50E95299772B}" type="sibTrans" cxnId="{6B4B8785-3EDE-4088-9B3F-09C2960EAF0B}">
      <dgm:prSet/>
      <dgm:spPr/>
      <dgm:t>
        <a:bodyPr/>
        <a:lstStyle/>
        <a:p>
          <a:endParaRPr lang="en-GB"/>
        </a:p>
      </dgm:t>
    </dgm:pt>
    <dgm:pt modelId="{277C052F-94E9-47C3-AA31-21A95A9643CD}">
      <dgm:prSet phldrT="[Text]"/>
      <dgm:spPr/>
      <dgm:t>
        <a:bodyPr/>
        <a:lstStyle/>
        <a:p>
          <a:r>
            <a:rPr lang="en-GB" dirty="0" smtClean="0"/>
            <a:t>Feedback &amp; development</a:t>
          </a:r>
          <a:endParaRPr lang="en-GB" dirty="0"/>
        </a:p>
      </dgm:t>
    </dgm:pt>
    <dgm:pt modelId="{699E8EC9-5E82-4C09-A994-A766FA331B36}" type="parTrans" cxnId="{78C91D6E-0FF1-465C-9C01-F7B5F282B92E}">
      <dgm:prSet/>
      <dgm:spPr/>
      <dgm:t>
        <a:bodyPr/>
        <a:lstStyle/>
        <a:p>
          <a:endParaRPr lang="en-GB"/>
        </a:p>
      </dgm:t>
    </dgm:pt>
    <dgm:pt modelId="{2E06C951-4A80-429D-B937-43BB74684F75}" type="sibTrans" cxnId="{78C91D6E-0FF1-465C-9C01-F7B5F282B92E}">
      <dgm:prSet/>
      <dgm:spPr/>
      <dgm:t>
        <a:bodyPr/>
        <a:lstStyle/>
        <a:p>
          <a:endParaRPr lang="en-GB"/>
        </a:p>
      </dgm:t>
    </dgm:pt>
    <dgm:pt modelId="{0BB294F7-10BB-46AA-ACB2-ECC99ECF4E04}">
      <dgm:prSet phldrT="[Text]"/>
      <dgm:spPr/>
      <dgm:t>
        <a:bodyPr/>
        <a:lstStyle/>
        <a:p>
          <a:r>
            <a:rPr lang="en-GB" dirty="0" smtClean="0"/>
            <a:t>Carers Partnership Board</a:t>
          </a:r>
          <a:endParaRPr lang="en-GB" dirty="0"/>
        </a:p>
      </dgm:t>
    </dgm:pt>
    <dgm:pt modelId="{5189F6A8-97D4-4F72-B563-15CCFC00A90B}" type="parTrans" cxnId="{FB9A81BD-125B-415C-AFF4-A98D070AA3FC}">
      <dgm:prSet/>
      <dgm:spPr/>
      <dgm:t>
        <a:bodyPr/>
        <a:lstStyle/>
        <a:p>
          <a:endParaRPr lang="en-GB"/>
        </a:p>
      </dgm:t>
    </dgm:pt>
    <dgm:pt modelId="{0D3DF53A-8DCF-4A70-B057-178D01A91A26}" type="sibTrans" cxnId="{FB9A81BD-125B-415C-AFF4-A98D070AA3FC}">
      <dgm:prSet/>
      <dgm:spPr/>
      <dgm:t>
        <a:bodyPr/>
        <a:lstStyle/>
        <a:p>
          <a:endParaRPr lang="en-GB"/>
        </a:p>
      </dgm:t>
    </dgm:pt>
    <dgm:pt modelId="{98031877-0AAE-4704-80A1-6D93BC88EB29}">
      <dgm:prSet phldrT="[Text]"/>
      <dgm:spPr/>
      <dgm:t>
        <a:bodyPr/>
        <a:lstStyle/>
        <a:p>
          <a:r>
            <a:rPr lang="en-GB" dirty="0" smtClean="0"/>
            <a:t>Feedback &amp; approval </a:t>
          </a:r>
          <a:endParaRPr lang="en-GB" dirty="0"/>
        </a:p>
      </dgm:t>
    </dgm:pt>
    <dgm:pt modelId="{D91151C8-52AF-4559-B5CC-9B77325A1D42}" type="parTrans" cxnId="{1660F3D8-D3D7-462D-BA0D-39F5FE818950}">
      <dgm:prSet/>
      <dgm:spPr/>
      <dgm:t>
        <a:bodyPr/>
        <a:lstStyle/>
        <a:p>
          <a:endParaRPr lang="en-GB"/>
        </a:p>
      </dgm:t>
    </dgm:pt>
    <dgm:pt modelId="{D378D5CB-6C09-42E2-BBB5-D407A6B27864}" type="sibTrans" cxnId="{1660F3D8-D3D7-462D-BA0D-39F5FE818950}">
      <dgm:prSet/>
      <dgm:spPr/>
      <dgm:t>
        <a:bodyPr/>
        <a:lstStyle/>
        <a:p>
          <a:endParaRPr lang="en-GB"/>
        </a:p>
      </dgm:t>
    </dgm:pt>
    <dgm:pt modelId="{8FDBEB46-9BCF-4CFA-92E7-2BF4DBAF6537}">
      <dgm:prSet phldrT="[Text]"/>
      <dgm:spPr/>
      <dgm:t>
        <a:bodyPr/>
        <a:lstStyle/>
        <a:p>
          <a:r>
            <a:rPr lang="en-GB" dirty="0" smtClean="0"/>
            <a:t>Attendees include; carers, social workers</a:t>
          </a:r>
          <a:endParaRPr lang="en-GB" dirty="0"/>
        </a:p>
      </dgm:t>
    </dgm:pt>
    <dgm:pt modelId="{973747EE-C126-4D70-AA52-CDAA313E5EA5}" type="parTrans" cxnId="{2D79F5ED-E983-432C-9CD6-1465A7FE8A3C}">
      <dgm:prSet/>
      <dgm:spPr/>
      <dgm:t>
        <a:bodyPr/>
        <a:lstStyle/>
        <a:p>
          <a:endParaRPr lang="en-GB"/>
        </a:p>
      </dgm:t>
    </dgm:pt>
    <dgm:pt modelId="{83CC202A-B068-4FB6-82ED-7C61EA03E0A1}" type="sibTrans" cxnId="{2D79F5ED-E983-432C-9CD6-1465A7FE8A3C}">
      <dgm:prSet/>
      <dgm:spPr/>
      <dgm:t>
        <a:bodyPr/>
        <a:lstStyle/>
        <a:p>
          <a:endParaRPr lang="en-GB"/>
        </a:p>
      </dgm:t>
    </dgm:pt>
    <dgm:pt modelId="{AFA9675D-1993-4DEE-ACD1-A7CE949EA181}">
      <dgm:prSet phldrT="[Text]"/>
      <dgm:spPr/>
      <dgm:t>
        <a:bodyPr/>
        <a:lstStyle/>
        <a:p>
          <a:r>
            <a:rPr lang="en-GB" dirty="0" smtClean="0"/>
            <a:t>Final approval</a:t>
          </a:r>
          <a:endParaRPr lang="en-GB" dirty="0"/>
        </a:p>
      </dgm:t>
    </dgm:pt>
    <dgm:pt modelId="{2A83421F-664F-4944-BFB4-EA1E509BD844}" type="parTrans" cxnId="{7A348975-6090-494E-BE63-61832D6692DF}">
      <dgm:prSet/>
      <dgm:spPr/>
      <dgm:t>
        <a:bodyPr/>
        <a:lstStyle/>
        <a:p>
          <a:endParaRPr lang="en-GB"/>
        </a:p>
      </dgm:t>
    </dgm:pt>
    <dgm:pt modelId="{F8D3204D-9B93-44B4-9735-F3F030EB3C1C}" type="sibTrans" cxnId="{7A348975-6090-494E-BE63-61832D6692DF}">
      <dgm:prSet/>
      <dgm:spPr/>
      <dgm:t>
        <a:bodyPr/>
        <a:lstStyle/>
        <a:p>
          <a:endParaRPr lang="en-GB"/>
        </a:p>
      </dgm:t>
    </dgm:pt>
    <dgm:pt modelId="{13E63F02-DCEB-4E9A-9CE4-C90923ECDD1F}">
      <dgm:prSet phldrT="[Text]"/>
      <dgm:spPr/>
      <dgm:t>
        <a:bodyPr/>
        <a:lstStyle/>
        <a:p>
          <a:r>
            <a:rPr lang="en-GB" dirty="0" smtClean="0"/>
            <a:t>Further refinement &amp; development, </a:t>
          </a:r>
          <a:endParaRPr lang="en-GB" dirty="0"/>
        </a:p>
      </dgm:t>
    </dgm:pt>
    <dgm:pt modelId="{8012A1DD-6F26-490A-AB66-949028E2E692}" type="parTrans" cxnId="{54B95DBE-C08E-4B11-91D0-E8DF7A5CB3EA}">
      <dgm:prSet/>
      <dgm:spPr/>
      <dgm:t>
        <a:bodyPr/>
        <a:lstStyle/>
        <a:p>
          <a:endParaRPr lang="en-GB"/>
        </a:p>
      </dgm:t>
    </dgm:pt>
    <dgm:pt modelId="{5268A705-B44A-47A3-B83D-2294B5A85588}" type="sibTrans" cxnId="{54B95DBE-C08E-4B11-91D0-E8DF7A5CB3EA}">
      <dgm:prSet/>
      <dgm:spPr/>
      <dgm:t>
        <a:bodyPr/>
        <a:lstStyle/>
        <a:p>
          <a:endParaRPr lang="en-GB"/>
        </a:p>
      </dgm:t>
    </dgm:pt>
    <dgm:pt modelId="{162F13E6-B1A4-4CE2-BD68-3FEB61A5A0A5}">
      <dgm:prSet phldrT="[Text]"/>
      <dgm:spPr/>
      <dgm:t>
        <a:bodyPr/>
        <a:lstStyle/>
        <a:p>
          <a:r>
            <a:rPr lang="en-GB" dirty="0" smtClean="0"/>
            <a:t>Approved by: Councillors, directors </a:t>
          </a:r>
          <a:endParaRPr lang="en-GB" dirty="0"/>
        </a:p>
      </dgm:t>
    </dgm:pt>
    <dgm:pt modelId="{08022C84-2A7E-45D1-A29F-5F4959ACB749}" type="parTrans" cxnId="{6CCBAC58-F910-4531-86D7-59DB2D2E88CE}">
      <dgm:prSet/>
      <dgm:spPr/>
      <dgm:t>
        <a:bodyPr/>
        <a:lstStyle/>
        <a:p>
          <a:endParaRPr lang="en-GB"/>
        </a:p>
      </dgm:t>
    </dgm:pt>
    <dgm:pt modelId="{17E9956A-0EF5-45F2-AD8B-407938E85286}" type="sibTrans" cxnId="{6CCBAC58-F910-4531-86D7-59DB2D2E88CE}">
      <dgm:prSet/>
      <dgm:spPr/>
      <dgm:t>
        <a:bodyPr/>
        <a:lstStyle/>
        <a:p>
          <a:endParaRPr lang="en-GB"/>
        </a:p>
      </dgm:t>
    </dgm:pt>
    <dgm:pt modelId="{77C3EF4C-C0B7-416C-BA24-935F72C4CD0C}" type="pres">
      <dgm:prSet presAssocID="{D8D4024E-8CF0-483B-9A76-26839AC61C4B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FFCE85D4-32EB-40A5-A1AB-F630F72944F7}" type="pres">
      <dgm:prSet presAssocID="{024864DF-D89A-4FB7-9433-3AC968014BF3}" presName="composite" presStyleCnt="0"/>
      <dgm:spPr/>
    </dgm:pt>
    <dgm:pt modelId="{0F301724-1627-45B1-BD0E-C2FF55CDAD0E}" type="pres">
      <dgm:prSet presAssocID="{024864DF-D89A-4FB7-9433-3AC968014BF3}" presName="bentUpArrow1" presStyleLbl="alignImgPlace1" presStyleIdx="0" presStyleCnt="3"/>
      <dgm:spPr/>
    </dgm:pt>
    <dgm:pt modelId="{B4A44E1E-85FD-4F2E-8BC5-03888A9F686D}" type="pres">
      <dgm:prSet presAssocID="{024864DF-D89A-4FB7-9433-3AC968014BF3}" presName="ParentText" presStyleLbl="node1" presStyleIdx="0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608AEC-FA0D-4236-B0C3-64438C9D5778}" type="pres">
      <dgm:prSet presAssocID="{024864DF-D89A-4FB7-9433-3AC968014BF3}" presName="Child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ED7DDA-3628-4086-AF05-8140FA75BF07}" type="pres">
      <dgm:prSet presAssocID="{7EA9ED1A-D39D-473F-B079-2145947DA5AE}" presName="sibTrans" presStyleCnt="0"/>
      <dgm:spPr/>
    </dgm:pt>
    <dgm:pt modelId="{97100639-4B8A-40CE-B647-74BAA93F4DDA}" type="pres">
      <dgm:prSet presAssocID="{00E76F43-0A11-4788-8088-B639DF1D5C06}" presName="composite" presStyleCnt="0"/>
      <dgm:spPr/>
    </dgm:pt>
    <dgm:pt modelId="{6EAB3642-6AFB-4934-95E6-C7686542B396}" type="pres">
      <dgm:prSet presAssocID="{00E76F43-0A11-4788-8088-B639DF1D5C06}" presName="bentUpArrow1" presStyleLbl="alignImgPlace1" presStyleIdx="1" presStyleCnt="3"/>
      <dgm:spPr/>
    </dgm:pt>
    <dgm:pt modelId="{C03505CA-DFE3-489B-A7A9-31333C0C231F}" type="pres">
      <dgm:prSet presAssocID="{00E76F43-0A11-4788-8088-B639DF1D5C06}" presName="ParentText" presStyleLbl="node1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4EC7219-F994-444F-957F-A6EBBE8312D6}" type="pres">
      <dgm:prSet presAssocID="{00E76F43-0A11-4788-8088-B639DF1D5C06}" presName="ChildText" presStyleLbl="revTx" presStyleIdx="1" presStyleCnt="4" custScaleX="212015" custLinFactNeighborX="63998" custLinFactNeighborY="-20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2FE8E3A-E23B-4958-8250-C9493CF93CB1}" type="pres">
      <dgm:prSet presAssocID="{EEE7CBF8-6FB6-4777-9B29-50E95299772B}" presName="sibTrans" presStyleCnt="0"/>
      <dgm:spPr/>
    </dgm:pt>
    <dgm:pt modelId="{2750EA55-770C-4149-AB5B-120B66E111C8}" type="pres">
      <dgm:prSet presAssocID="{0BB294F7-10BB-46AA-ACB2-ECC99ECF4E04}" presName="composite" presStyleCnt="0"/>
      <dgm:spPr/>
    </dgm:pt>
    <dgm:pt modelId="{1CE098D6-2759-4C28-8329-F06E233E836C}" type="pres">
      <dgm:prSet presAssocID="{0BB294F7-10BB-46AA-ACB2-ECC99ECF4E04}" presName="bentUpArrow1" presStyleLbl="alignImgPlace1" presStyleIdx="2" presStyleCnt="3"/>
      <dgm:spPr/>
    </dgm:pt>
    <dgm:pt modelId="{9C1C4966-E6D2-481F-BA23-250DC1EDE8BE}" type="pres">
      <dgm:prSet presAssocID="{0BB294F7-10BB-46AA-ACB2-ECC99ECF4E04}" presName="ParentText" presStyleLbl="node1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9C83529-4137-4A4D-A650-13D18331FABF}" type="pres">
      <dgm:prSet presAssocID="{0BB294F7-10BB-46AA-ACB2-ECC99ECF4E04}" presName="ChildText" presStyleLbl="revTx" presStyleIdx="2" presStyleCnt="4" custScaleX="199429" custLinFactNeighborX="5385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5A440FC-5F1C-4BB1-810D-375C1666C334}" type="pres">
      <dgm:prSet presAssocID="{0D3DF53A-8DCF-4A70-B057-178D01A91A26}" presName="sibTrans" presStyleCnt="0"/>
      <dgm:spPr/>
    </dgm:pt>
    <dgm:pt modelId="{B1095EA4-A737-4CB5-8A9B-D4ADF1959A10}" type="pres">
      <dgm:prSet presAssocID="{AFA9675D-1993-4DEE-ACD1-A7CE949EA181}" presName="composite" presStyleCnt="0"/>
      <dgm:spPr/>
    </dgm:pt>
    <dgm:pt modelId="{4F4D19E6-5604-4E05-A234-13FD51B9F76E}" type="pres">
      <dgm:prSet presAssocID="{AFA9675D-1993-4DEE-ACD1-A7CE949EA181}" presName="ParentText" presStyleLbl="node1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9BE2AF6-C845-4B43-890B-A46872F1CB10}" type="pres">
      <dgm:prSet presAssocID="{AFA9675D-1993-4DEE-ACD1-A7CE949EA181}" presName="FinalChildText" presStyleLbl="revTx" presStyleIdx="3" presStyleCnt="4" custScaleX="210967" custLinFactNeighborX="58535" custLinFactNeighborY="-100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AAE86320-F68F-485E-990B-BFFAFAF048CD}" type="presOf" srcId="{00E76F43-0A11-4788-8088-B639DF1D5C06}" destId="{C03505CA-DFE3-489B-A7A9-31333C0C231F}" srcOrd="0" destOrd="0" presId="urn:microsoft.com/office/officeart/2005/8/layout/StepDownProcess"/>
    <dgm:cxn modelId="{32FEC324-2211-46B9-BDD5-E739B4757A38}" type="presOf" srcId="{AFA9675D-1993-4DEE-ACD1-A7CE949EA181}" destId="{4F4D19E6-5604-4E05-A234-13FD51B9F76E}" srcOrd="0" destOrd="0" presId="urn:microsoft.com/office/officeart/2005/8/layout/StepDownProcess"/>
    <dgm:cxn modelId="{6B4B8785-3EDE-4088-9B3F-09C2960EAF0B}" srcId="{D8D4024E-8CF0-483B-9A76-26839AC61C4B}" destId="{00E76F43-0A11-4788-8088-B639DF1D5C06}" srcOrd="1" destOrd="0" parTransId="{02045601-4A46-48F4-873B-AB0C01FE4648}" sibTransId="{EEE7CBF8-6FB6-4777-9B29-50E95299772B}"/>
    <dgm:cxn modelId="{6CCBAC58-F910-4531-86D7-59DB2D2E88CE}" srcId="{AFA9675D-1993-4DEE-ACD1-A7CE949EA181}" destId="{162F13E6-B1A4-4CE2-BD68-3FEB61A5A0A5}" srcOrd="1" destOrd="0" parTransId="{08022C84-2A7E-45D1-A29F-5F4959ACB749}" sibTransId="{17E9956A-0EF5-45F2-AD8B-407938E85286}"/>
    <dgm:cxn modelId="{EFB1E72B-B63B-45FA-8AB0-16CE0193459B}" srcId="{D8D4024E-8CF0-483B-9A76-26839AC61C4B}" destId="{024864DF-D89A-4FB7-9433-3AC968014BF3}" srcOrd="0" destOrd="0" parTransId="{1582FCC1-CB26-41AC-8F47-34A5E37AAA92}" sibTransId="{7EA9ED1A-D39D-473F-B079-2145947DA5AE}"/>
    <dgm:cxn modelId="{1660F3D8-D3D7-462D-BA0D-39F5FE818950}" srcId="{0BB294F7-10BB-46AA-ACB2-ECC99ECF4E04}" destId="{98031877-0AAE-4704-80A1-6D93BC88EB29}" srcOrd="0" destOrd="0" parTransId="{D91151C8-52AF-4559-B5CC-9B77325A1D42}" sibTransId="{D378D5CB-6C09-42E2-BBB5-D407A6B27864}"/>
    <dgm:cxn modelId="{FE54E5F9-7E19-4581-9B43-DFF19CF3076E}" type="presOf" srcId="{13E63F02-DCEB-4E9A-9CE4-C90923ECDD1F}" destId="{A9BE2AF6-C845-4B43-890B-A46872F1CB10}" srcOrd="0" destOrd="0" presId="urn:microsoft.com/office/officeart/2005/8/layout/StepDownProcess"/>
    <dgm:cxn modelId="{BDD60580-9AB4-4B9E-AFCB-55C00DE2BD8B}" type="presOf" srcId="{0BB294F7-10BB-46AA-ACB2-ECC99ECF4E04}" destId="{9C1C4966-E6D2-481F-BA23-250DC1EDE8BE}" srcOrd="0" destOrd="0" presId="urn:microsoft.com/office/officeart/2005/8/layout/StepDownProcess"/>
    <dgm:cxn modelId="{025723C8-0097-4DFE-8E5A-8EDE50291AC9}" type="presOf" srcId="{98031877-0AAE-4704-80A1-6D93BC88EB29}" destId="{49C83529-4137-4A4D-A650-13D18331FABF}" srcOrd="0" destOrd="0" presId="urn:microsoft.com/office/officeart/2005/8/layout/StepDownProcess"/>
    <dgm:cxn modelId="{FB9A81BD-125B-415C-AFF4-A98D070AA3FC}" srcId="{D8D4024E-8CF0-483B-9A76-26839AC61C4B}" destId="{0BB294F7-10BB-46AA-ACB2-ECC99ECF4E04}" srcOrd="2" destOrd="0" parTransId="{5189F6A8-97D4-4F72-B563-15CCFC00A90B}" sibTransId="{0D3DF53A-8DCF-4A70-B057-178D01A91A26}"/>
    <dgm:cxn modelId="{F0D8E7E8-177F-486F-99B4-3A8F4476BA99}" type="presOf" srcId="{277C052F-94E9-47C3-AA31-21A95A9643CD}" destId="{F4EC7219-F994-444F-957F-A6EBBE8312D6}" srcOrd="0" destOrd="0" presId="urn:microsoft.com/office/officeart/2005/8/layout/StepDownProcess"/>
    <dgm:cxn modelId="{D588C2DD-6808-430F-8CB2-37503B919A2C}" type="presOf" srcId="{8FDBEB46-9BCF-4CFA-92E7-2BF4DBAF6537}" destId="{F4EC7219-F994-444F-957F-A6EBBE8312D6}" srcOrd="0" destOrd="1" presId="urn:microsoft.com/office/officeart/2005/8/layout/StepDownProcess"/>
    <dgm:cxn modelId="{54B95DBE-C08E-4B11-91D0-E8DF7A5CB3EA}" srcId="{AFA9675D-1993-4DEE-ACD1-A7CE949EA181}" destId="{13E63F02-DCEB-4E9A-9CE4-C90923ECDD1F}" srcOrd="0" destOrd="0" parTransId="{8012A1DD-6F26-490A-AB66-949028E2E692}" sibTransId="{5268A705-B44A-47A3-B83D-2294B5A85588}"/>
    <dgm:cxn modelId="{7A348975-6090-494E-BE63-61832D6692DF}" srcId="{D8D4024E-8CF0-483B-9A76-26839AC61C4B}" destId="{AFA9675D-1993-4DEE-ACD1-A7CE949EA181}" srcOrd="3" destOrd="0" parTransId="{2A83421F-664F-4944-BFB4-EA1E509BD844}" sibTransId="{F8D3204D-9B93-44B4-9735-F3F030EB3C1C}"/>
    <dgm:cxn modelId="{2D79F5ED-E983-432C-9CD6-1465A7FE8A3C}" srcId="{00E76F43-0A11-4788-8088-B639DF1D5C06}" destId="{8FDBEB46-9BCF-4CFA-92E7-2BF4DBAF6537}" srcOrd="1" destOrd="0" parTransId="{973747EE-C126-4D70-AA52-CDAA313E5EA5}" sibTransId="{83CC202A-B068-4FB6-82ED-7C61EA03E0A1}"/>
    <dgm:cxn modelId="{78C91D6E-0FF1-465C-9C01-F7B5F282B92E}" srcId="{00E76F43-0A11-4788-8088-B639DF1D5C06}" destId="{277C052F-94E9-47C3-AA31-21A95A9643CD}" srcOrd="0" destOrd="0" parTransId="{699E8EC9-5E82-4C09-A994-A766FA331B36}" sibTransId="{2E06C951-4A80-429D-B937-43BB74684F75}"/>
    <dgm:cxn modelId="{5DDFC3E4-1A0D-45E8-AE3F-CE6BD8F24B0C}" type="presOf" srcId="{024864DF-D89A-4FB7-9433-3AC968014BF3}" destId="{B4A44E1E-85FD-4F2E-8BC5-03888A9F686D}" srcOrd="0" destOrd="0" presId="urn:microsoft.com/office/officeart/2005/8/layout/StepDownProcess"/>
    <dgm:cxn modelId="{8F206F19-3FC6-4FF8-82A0-043861D6454C}" type="presOf" srcId="{162F13E6-B1A4-4CE2-BD68-3FEB61A5A0A5}" destId="{A9BE2AF6-C845-4B43-890B-A46872F1CB10}" srcOrd="0" destOrd="1" presId="urn:microsoft.com/office/officeart/2005/8/layout/StepDownProcess"/>
    <dgm:cxn modelId="{ACE9AE04-992B-4BE3-ADB6-B5D077D9DB62}" srcId="{024864DF-D89A-4FB7-9433-3AC968014BF3}" destId="{FD354AF1-B734-49BF-B015-868266A63B8D}" srcOrd="0" destOrd="0" parTransId="{20207AD1-3F52-4841-84B2-3404149D4E9A}" sibTransId="{9A63E0DD-0F8E-4484-B660-7FF4AEDEB540}"/>
    <dgm:cxn modelId="{4E6D714C-9185-4C52-872E-9CA65830A123}" type="presOf" srcId="{FD354AF1-B734-49BF-B015-868266A63B8D}" destId="{AE608AEC-FA0D-4236-B0C3-64438C9D5778}" srcOrd="0" destOrd="0" presId="urn:microsoft.com/office/officeart/2005/8/layout/StepDownProcess"/>
    <dgm:cxn modelId="{24D04C2D-9FED-4460-970A-33C9E2034673}" type="presOf" srcId="{D8D4024E-8CF0-483B-9A76-26839AC61C4B}" destId="{77C3EF4C-C0B7-416C-BA24-935F72C4CD0C}" srcOrd="0" destOrd="0" presId="urn:microsoft.com/office/officeart/2005/8/layout/StepDownProcess"/>
    <dgm:cxn modelId="{27F0AAF2-9666-4E80-A46E-F0103F379F99}" type="presParOf" srcId="{77C3EF4C-C0B7-416C-BA24-935F72C4CD0C}" destId="{FFCE85D4-32EB-40A5-A1AB-F630F72944F7}" srcOrd="0" destOrd="0" presId="urn:microsoft.com/office/officeart/2005/8/layout/StepDownProcess"/>
    <dgm:cxn modelId="{CC3EA909-131B-46C8-8199-CDB9A7E9B9A8}" type="presParOf" srcId="{FFCE85D4-32EB-40A5-A1AB-F630F72944F7}" destId="{0F301724-1627-45B1-BD0E-C2FF55CDAD0E}" srcOrd="0" destOrd="0" presId="urn:microsoft.com/office/officeart/2005/8/layout/StepDownProcess"/>
    <dgm:cxn modelId="{1EC94B0B-6C77-4DBE-8DB7-390CF3B6E120}" type="presParOf" srcId="{FFCE85D4-32EB-40A5-A1AB-F630F72944F7}" destId="{B4A44E1E-85FD-4F2E-8BC5-03888A9F686D}" srcOrd="1" destOrd="0" presId="urn:microsoft.com/office/officeart/2005/8/layout/StepDownProcess"/>
    <dgm:cxn modelId="{0F3D2D7E-2EA9-407F-8791-28FC5260E15F}" type="presParOf" srcId="{FFCE85D4-32EB-40A5-A1AB-F630F72944F7}" destId="{AE608AEC-FA0D-4236-B0C3-64438C9D5778}" srcOrd="2" destOrd="0" presId="urn:microsoft.com/office/officeart/2005/8/layout/StepDownProcess"/>
    <dgm:cxn modelId="{BEC38663-4943-4BE7-AA1F-0FC674E147A4}" type="presParOf" srcId="{77C3EF4C-C0B7-416C-BA24-935F72C4CD0C}" destId="{99ED7DDA-3628-4086-AF05-8140FA75BF07}" srcOrd="1" destOrd="0" presId="urn:microsoft.com/office/officeart/2005/8/layout/StepDownProcess"/>
    <dgm:cxn modelId="{D0AB57A5-3E32-4B96-B11D-069ED0CF0171}" type="presParOf" srcId="{77C3EF4C-C0B7-416C-BA24-935F72C4CD0C}" destId="{97100639-4B8A-40CE-B647-74BAA93F4DDA}" srcOrd="2" destOrd="0" presId="urn:microsoft.com/office/officeart/2005/8/layout/StepDownProcess"/>
    <dgm:cxn modelId="{C0C0F704-969B-442E-A548-0E5AA29D1E3D}" type="presParOf" srcId="{97100639-4B8A-40CE-B647-74BAA93F4DDA}" destId="{6EAB3642-6AFB-4934-95E6-C7686542B396}" srcOrd="0" destOrd="0" presId="urn:microsoft.com/office/officeart/2005/8/layout/StepDownProcess"/>
    <dgm:cxn modelId="{FD38CD07-5052-4D87-90EA-E16F42B08A74}" type="presParOf" srcId="{97100639-4B8A-40CE-B647-74BAA93F4DDA}" destId="{C03505CA-DFE3-489B-A7A9-31333C0C231F}" srcOrd="1" destOrd="0" presId="urn:microsoft.com/office/officeart/2005/8/layout/StepDownProcess"/>
    <dgm:cxn modelId="{08F47765-1F2C-4340-9E2A-4B895862C2AE}" type="presParOf" srcId="{97100639-4B8A-40CE-B647-74BAA93F4DDA}" destId="{F4EC7219-F994-444F-957F-A6EBBE8312D6}" srcOrd="2" destOrd="0" presId="urn:microsoft.com/office/officeart/2005/8/layout/StepDownProcess"/>
    <dgm:cxn modelId="{5A4D34E0-F21C-41EB-BF3C-6949235C1AD3}" type="presParOf" srcId="{77C3EF4C-C0B7-416C-BA24-935F72C4CD0C}" destId="{62FE8E3A-E23B-4958-8250-C9493CF93CB1}" srcOrd="3" destOrd="0" presId="urn:microsoft.com/office/officeart/2005/8/layout/StepDownProcess"/>
    <dgm:cxn modelId="{3BEFD1C1-817F-496D-8E4F-B219EEB2C988}" type="presParOf" srcId="{77C3EF4C-C0B7-416C-BA24-935F72C4CD0C}" destId="{2750EA55-770C-4149-AB5B-120B66E111C8}" srcOrd="4" destOrd="0" presId="urn:microsoft.com/office/officeart/2005/8/layout/StepDownProcess"/>
    <dgm:cxn modelId="{FA856BA7-5A06-4E67-8D38-C3706F984099}" type="presParOf" srcId="{2750EA55-770C-4149-AB5B-120B66E111C8}" destId="{1CE098D6-2759-4C28-8329-F06E233E836C}" srcOrd="0" destOrd="0" presId="urn:microsoft.com/office/officeart/2005/8/layout/StepDownProcess"/>
    <dgm:cxn modelId="{FC8790B3-871F-4E52-9DF2-45D527BCBB9B}" type="presParOf" srcId="{2750EA55-770C-4149-AB5B-120B66E111C8}" destId="{9C1C4966-E6D2-481F-BA23-250DC1EDE8BE}" srcOrd="1" destOrd="0" presId="urn:microsoft.com/office/officeart/2005/8/layout/StepDownProcess"/>
    <dgm:cxn modelId="{4D453FE6-37A4-43F1-9F93-610CEB366466}" type="presParOf" srcId="{2750EA55-770C-4149-AB5B-120B66E111C8}" destId="{49C83529-4137-4A4D-A650-13D18331FABF}" srcOrd="2" destOrd="0" presId="urn:microsoft.com/office/officeart/2005/8/layout/StepDownProcess"/>
    <dgm:cxn modelId="{0537C683-8E3F-4704-BBA1-0DE5B3F285E5}" type="presParOf" srcId="{77C3EF4C-C0B7-416C-BA24-935F72C4CD0C}" destId="{E5A440FC-5F1C-4BB1-810D-375C1666C334}" srcOrd="5" destOrd="0" presId="urn:microsoft.com/office/officeart/2005/8/layout/StepDownProcess"/>
    <dgm:cxn modelId="{2905EF04-A11B-4896-99F1-402B9CAC5063}" type="presParOf" srcId="{77C3EF4C-C0B7-416C-BA24-935F72C4CD0C}" destId="{B1095EA4-A737-4CB5-8A9B-D4ADF1959A10}" srcOrd="6" destOrd="0" presId="urn:microsoft.com/office/officeart/2005/8/layout/StepDownProcess"/>
    <dgm:cxn modelId="{959A9AF2-4C8D-4709-9921-E130D6ABC54B}" type="presParOf" srcId="{B1095EA4-A737-4CB5-8A9B-D4ADF1959A10}" destId="{4F4D19E6-5604-4E05-A234-13FD51B9F76E}" srcOrd="0" destOrd="0" presId="urn:microsoft.com/office/officeart/2005/8/layout/StepDownProcess"/>
    <dgm:cxn modelId="{714B0A96-AB75-4F55-B092-9D930403C0F1}" type="presParOf" srcId="{B1095EA4-A737-4CB5-8A9B-D4ADF1959A10}" destId="{A9BE2AF6-C845-4B43-890B-A46872F1CB10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301724-1627-45B1-BD0E-C2FF55CDAD0E}">
      <dsp:nvSpPr>
        <dsp:cNvPr id="0" name=""/>
        <dsp:cNvSpPr/>
      </dsp:nvSpPr>
      <dsp:spPr>
        <a:xfrm rot="5400000">
          <a:off x="907155" y="1184365"/>
          <a:ext cx="1040130" cy="11841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A44E1E-85FD-4F2E-8BC5-03888A9F686D}">
      <dsp:nvSpPr>
        <dsp:cNvPr id="0" name=""/>
        <dsp:cNvSpPr/>
      </dsp:nvSpPr>
      <dsp:spPr>
        <a:xfrm>
          <a:off x="631584" y="31360"/>
          <a:ext cx="1750966" cy="1225619"/>
        </a:xfrm>
        <a:prstGeom prst="roundRect">
          <a:avLst>
            <a:gd name="adj" fmla="val 166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smtClean="0"/>
            <a:t>Carers Partnership Board</a:t>
          </a:r>
          <a:endParaRPr lang="en-GB" sz="2200" kern="1200" dirty="0"/>
        </a:p>
      </dsp:txBody>
      <dsp:txXfrm>
        <a:off x="691425" y="91201"/>
        <a:ext cx="1631284" cy="1105937"/>
      </dsp:txXfrm>
    </dsp:sp>
    <dsp:sp modelId="{AE608AEC-FA0D-4236-B0C3-64438C9D5778}">
      <dsp:nvSpPr>
        <dsp:cNvPr id="0" name=""/>
        <dsp:cNvSpPr/>
      </dsp:nvSpPr>
      <dsp:spPr>
        <a:xfrm>
          <a:off x="2382551" y="148250"/>
          <a:ext cx="1273486" cy="99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Planning workshop </a:t>
          </a:r>
          <a:endParaRPr lang="en-GB" sz="1600" kern="1200" dirty="0"/>
        </a:p>
      </dsp:txBody>
      <dsp:txXfrm>
        <a:off x="2382551" y="148250"/>
        <a:ext cx="1273486" cy="990600"/>
      </dsp:txXfrm>
    </dsp:sp>
    <dsp:sp modelId="{6EAB3642-6AFB-4934-95E6-C7686542B396}">
      <dsp:nvSpPr>
        <dsp:cNvPr id="0" name=""/>
        <dsp:cNvSpPr/>
      </dsp:nvSpPr>
      <dsp:spPr>
        <a:xfrm rot="5400000">
          <a:off x="2358893" y="2561140"/>
          <a:ext cx="1040130" cy="11841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3505CA-DFE3-489B-A7A9-31333C0C231F}">
      <dsp:nvSpPr>
        <dsp:cNvPr id="0" name=""/>
        <dsp:cNvSpPr/>
      </dsp:nvSpPr>
      <dsp:spPr>
        <a:xfrm>
          <a:off x="2083321" y="1408135"/>
          <a:ext cx="1750966" cy="1225619"/>
        </a:xfrm>
        <a:prstGeom prst="roundRect">
          <a:avLst>
            <a:gd name="adj" fmla="val 166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smtClean="0"/>
            <a:t>3 focus groups</a:t>
          </a:r>
          <a:endParaRPr lang="en-GB" sz="2200" kern="1200" dirty="0"/>
        </a:p>
      </dsp:txBody>
      <dsp:txXfrm>
        <a:off x="2143162" y="1467976"/>
        <a:ext cx="1631284" cy="1105937"/>
      </dsp:txXfrm>
    </dsp:sp>
    <dsp:sp modelId="{F4EC7219-F994-444F-957F-A6EBBE8312D6}">
      <dsp:nvSpPr>
        <dsp:cNvPr id="0" name=""/>
        <dsp:cNvSpPr/>
      </dsp:nvSpPr>
      <dsp:spPr>
        <a:xfrm>
          <a:off x="3936046" y="1505145"/>
          <a:ext cx="2699982" cy="99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Feedback &amp; development</a:t>
          </a:r>
          <a:endParaRPr lang="en-GB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Attendees include; carers, social workers</a:t>
          </a:r>
          <a:endParaRPr lang="en-GB" sz="1600" kern="1200" dirty="0"/>
        </a:p>
      </dsp:txBody>
      <dsp:txXfrm>
        <a:off x="3936046" y="1505145"/>
        <a:ext cx="2699982" cy="990600"/>
      </dsp:txXfrm>
    </dsp:sp>
    <dsp:sp modelId="{1CE098D6-2759-4C28-8329-F06E233E836C}">
      <dsp:nvSpPr>
        <dsp:cNvPr id="0" name=""/>
        <dsp:cNvSpPr/>
      </dsp:nvSpPr>
      <dsp:spPr>
        <a:xfrm rot="5400000">
          <a:off x="3810630" y="3937916"/>
          <a:ext cx="1040130" cy="1184151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dk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1C4966-E6D2-481F-BA23-250DC1EDE8BE}">
      <dsp:nvSpPr>
        <dsp:cNvPr id="0" name=""/>
        <dsp:cNvSpPr/>
      </dsp:nvSpPr>
      <dsp:spPr>
        <a:xfrm>
          <a:off x="3535059" y="2784911"/>
          <a:ext cx="1750966" cy="1225619"/>
        </a:xfrm>
        <a:prstGeom prst="roundRect">
          <a:avLst>
            <a:gd name="adj" fmla="val 166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smtClean="0"/>
            <a:t>Carers Partnership Board</a:t>
          </a:r>
          <a:endParaRPr lang="en-GB" sz="2200" kern="1200" dirty="0"/>
        </a:p>
      </dsp:txBody>
      <dsp:txXfrm>
        <a:off x="3594900" y="2844752"/>
        <a:ext cx="1631284" cy="1105937"/>
      </dsp:txXfrm>
    </dsp:sp>
    <dsp:sp modelId="{49C83529-4137-4A4D-A650-13D18331FABF}">
      <dsp:nvSpPr>
        <dsp:cNvPr id="0" name=""/>
        <dsp:cNvSpPr/>
      </dsp:nvSpPr>
      <dsp:spPr>
        <a:xfrm>
          <a:off x="5338716" y="2901802"/>
          <a:ext cx="2539701" cy="99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/>
            <a:t>Feedback &amp; approval </a:t>
          </a:r>
          <a:endParaRPr lang="en-GB" sz="1600" kern="1200" dirty="0"/>
        </a:p>
      </dsp:txBody>
      <dsp:txXfrm>
        <a:off x="5338716" y="2901802"/>
        <a:ext cx="2539701" cy="990600"/>
      </dsp:txXfrm>
    </dsp:sp>
    <dsp:sp modelId="{4F4D19E6-5604-4E05-A234-13FD51B9F76E}">
      <dsp:nvSpPr>
        <dsp:cNvPr id="0" name=""/>
        <dsp:cNvSpPr/>
      </dsp:nvSpPr>
      <dsp:spPr>
        <a:xfrm>
          <a:off x="4986796" y="4161686"/>
          <a:ext cx="1750966" cy="1225619"/>
        </a:xfrm>
        <a:prstGeom prst="roundRect">
          <a:avLst>
            <a:gd name="adj" fmla="val 166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smtClean="0"/>
            <a:t>Final approval</a:t>
          </a:r>
          <a:endParaRPr lang="en-GB" sz="2200" kern="1200" dirty="0"/>
        </a:p>
      </dsp:txBody>
      <dsp:txXfrm>
        <a:off x="5046637" y="4221527"/>
        <a:ext cx="1631284" cy="1105937"/>
      </dsp:txXfrm>
    </dsp:sp>
    <dsp:sp modelId="{A9BE2AF6-C845-4B43-890B-A46872F1CB10}">
      <dsp:nvSpPr>
        <dsp:cNvPr id="0" name=""/>
        <dsp:cNvSpPr/>
      </dsp:nvSpPr>
      <dsp:spPr>
        <a:xfrm>
          <a:off x="6662773" y="4268642"/>
          <a:ext cx="2686635" cy="9906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dirty="0" smtClean="0"/>
            <a:t>Further refinement &amp; development, </a:t>
          </a:r>
          <a:endParaRPr lang="en-GB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500" kern="1200" dirty="0" smtClean="0"/>
            <a:t>Approved by: Councillors, directors </a:t>
          </a:r>
          <a:endParaRPr lang="en-GB" sz="1500" kern="1200" dirty="0"/>
        </a:p>
      </dsp:txBody>
      <dsp:txXfrm>
        <a:off x="6662773" y="4268642"/>
        <a:ext cx="2686635" cy="9906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t" anchorCtr="0" compatLnSpc="1">
            <a:prstTxWarp prst="textNoShape">
              <a:avLst/>
            </a:prstTxWarp>
          </a:bodyPr>
          <a:lstStyle>
            <a:lvl1pPr algn="l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26527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t" anchorCtr="0" compatLnSpc="1">
            <a:prstTxWarp prst="textNoShape">
              <a:avLst/>
            </a:prstTxWarp>
          </a:bodyPr>
          <a:lstStyle>
            <a:lvl1pPr algn="r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b" anchorCtr="0" compatLnSpc="1">
            <a:prstTxWarp prst="textNoShape">
              <a:avLst/>
            </a:prstTxWarp>
          </a:bodyPr>
          <a:lstStyle>
            <a:lvl1pPr algn="l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83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26527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7" tIns="46114" rIns="92227" bIns="46114" numCol="1" anchor="b" anchorCtr="0" compatLnSpc="1">
            <a:prstTxWarp prst="textNoShape">
              <a:avLst/>
            </a:prstTxWarp>
          </a:bodyPr>
          <a:lstStyle>
            <a:lvl1pPr algn="r" defTabSz="922131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3711EA11-43E6-4DCA-8B9D-C551F341BD0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88990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>
            <a:lvl1pPr algn="l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6527" y="1"/>
            <a:ext cx="2928674" cy="541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>
            <a:lvl1pPr algn="r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71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223838" y="811213"/>
            <a:ext cx="7207251" cy="4054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786" y="5136536"/>
            <a:ext cx="5409209" cy="4863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b" anchorCtr="0" compatLnSpc="1">
            <a:prstTxWarp prst="textNoShape">
              <a:avLst/>
            </a:prstTxWarp>
          </a:bodyPr>
          <a:lstStyle>
            <a:lvl1pPr algn="l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6527" y="10267887"/>
            <a:ext cx="2928674" cy="541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44" tIns="44172" rIns="88344" bIns="44172" numCol="1" anchor="b" anchorCtr="0" compatLnSpc="1">
            <a:prstTxWarp prst="textNoShape">
              <a:avLst/>
            </a:prstTxWarp>
          </a:bodyPr>
          <a:lstStyle>
            <a:lvl1pPr algn="r" defTabSz="883974"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1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4C0035BF-B55B-4DD4-B66E-F87CD34018C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058029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MS PGothic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548B0-B730-4A99-9017-6F39914C1B0C}" type="slidenum">
              <a:rPr lang="en-IE" smtClean="0">
                <a:solidFill>
                  <a:prstClr val="black"/>
                </a:solidFill>
              </a:rPr>
              <a:pPr/>
              <a:t>1</a:t>
            </a:fld>
            <a:endParaRPr lang="en-I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426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566859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029164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513432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8420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776085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492705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766850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06612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59640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4877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44051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Sarah Warm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t for circul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38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4117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74542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43000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0877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0035BF-B55B-4DD4-B66E-F87CD34018C5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60025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.jpeg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2.jpe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.jpe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.jpe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2.jpe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2.jpe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2.jpe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2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2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2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2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image" Target="../media/image2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image" Target="../media/image2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2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image" Target="../media/image2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2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2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2.jpe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.jpe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.jpe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.jpe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13550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9EE0DB4-0CA1-4B8F-94FE-31DA6292C13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7715512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89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689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2707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5977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0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10" y="2057116"/>
            <a:ext cx="10363108" cy="914111"/>
          </a:xfrm>
        </p:spPr>
        <p:txBody>
          <a:bodyPr anchor="t"/>
          <a:lstStyle>
            <a:lvl1pPr>
              <a:defRPr sz="3686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84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472867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4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86103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2933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592"/>
            </a:lvl1pPr>
            <a:lvl2pPr marL="333814" indent="0">
              <a:buNone/>
              <a:defRPr sz="1341"/>
            </a:lvl2pPr>
            <a:lvl3pPr marL="667652" indent="0">
              <a:buNone/>
              <a:defRPr sz="1173"/>
            </a:lvl3pPr>
            <a:lvl4pPr marL="1001479" indent="0">
              <a:buNone/>
              <a:defRPr sz="1005"/>
            </a:lvl4pPr>
            <a:lvl5pPr marL="1335308" indent="0">
              <a:buNone/>
              <a:defRPr sz="1005"/>
            </a:lvl5pPr>
            <a:lvl6pPr marL="1669138" indent="0">
              <a:buNone/>
              <a:defRPr sz="1005"/>
            </a:lvl6pPr>
            <a:lvl7pPr marL="2002965" indent="0">
              <a:buNone/>
              <a:defRPr sz="1005"/>
            </a:lvl7pPr>
            <a:lvl8pPr marL="2336795" indent="0">
              <a:buNone/>
              <a:defRPr sz="1005"/>
            </a:lvl8pPr>
            <a:lvl9pPr marL="2670624" indent="0">
              <a:buNone/>
              <a:defRPr sz="100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837163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5"/>
            <a:ext cx="5397943" cy="4048005"/>
          </a:xfrm>
        </p:spPr>
        <p:txBody>
          <a:bodyPr/>
          <a:lstStyle>
            <a:lvl1pPr>
              <a:defRPr sz="1005"/>
            </a:lvl1pPr>
            <a:lvl2pPr>
              <a:defRPr sz="1005"/>
            </a:lvl2pPr>
            <a:lvl3pPr>
              <a:defRPr sz="1005"/>
            </a:lvl3pPr>
            <a:lvl4pPr>
              <a:defRPr sz="1005"/>
            </a:lvl4pPr>
            <a:lvl5pPr>
              <a:defRPr sz="1005"/>
            </a:lvl5pPr>
            <a:lvl6pPr>
              <a:defRPr sz="1341"/>
            </a:lvl6pPr>
            <a:lvl7pPr>
              <a:defRPr sz="1341"/>
            </a:lvl7pPr>
            <a:lvl8pPr>
              <a:defRPr sz="1341"/>
            </a:lvl8pPr>
            <a:lvl9pPr>
              <a:defRPr sz="13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5"/>
            <a:ext cx="5399753" cy="4048005"/>
          </a:xfrm>
        </p:spPr>
        <p:txBody>
          <a:bodyPr/>
          <a:lstStyle>
            <a:lvl1pPr>
              <a:defRPr sz="1005"/>
            </a:lvl1pPr>
            <a:lvl2pPr>
              <a:defRPr sz="1005"/>
            </a:lvl2pPr>
            <a:lvl3pPr>
              <a:defRPr sz="1005"/>
            </a:lvl3pPr>
            <a:lvl4pPr>
              <a:defRPr sz="1005"/>
            </a:lvl4pPr>
            <a:lvl5pPr>
              <a:defRPr sz="1005"/>
            </a:lvl5pPr>
            <a:lvl6pPr>
              <a:defRPr sz="1341"/>
            </a:lvl6pPr>
            <a:lvl7pPr>
              <a:defRPr sz="1341"/>
            </a:lvl7pPr>
            <a:lvl8pPr>
              <a:defRPr sz="1341"/>
            </a:lvl8pPr>
            <a:lvl9pPr>
              <a:defRPr sz="134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34420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42" y="1534560"/>
            <a:ext cx="5387079" cy="640599"/>
          </a:xfrm>
        </p:spPr>
        <p:txBody>
          <a:bodyPr anchor="b"/>
          <a:lstStyle>
            <a:lvl1pPr marL="0" indent="0">
              <a:buNone/>
              <a:defRPr sz="1760" b="1"/>
            </a:lvl1pPr>
            <a:lvl2pPr marL="333814" indent="0">
              <a:buNone/>
              <a:defRPr sz="1592" b="1"/>
            </a:lvl2pPr>
            <a:lvl3pPr marL="667652" indent="0">
              <a:buNone/>
              <a:defRPr sz="1341" b="1"/>
            </a:lvl3pPr>
            <a:lvl4pPr marL="1001479" indent="0">
              <a:buNone/>
              <a:defRPr sz="1173" b="1"/>
            </a:lvl4pPr>
            <a:lvl5pPr marL="1335308" indent="0">
              <a:buNone/>
              <a:defRPr sz="1173" b="1"/>
            </a:lvl5pPr>
            <a:lvl6pPr marL="1669138" indent="0">
              <a:buNone/>
              <a:defRPr sz="1173" b="1"/>
            </a:lvl6pPr>
            <a:lvl7pPr marL="2002965" indent="0">
              <a:buNone/>
              <a:defRPr sz="1173" b="1"/>
            </a:lvl7pPr>
            <a:lvl8pPr marL="2336795" indent="0">
              <a:buNone/>
              <a:defRPr sz="1173" b="1"/>
            </a:lvl8pPr>
            <a:lvl9pPr marL="2670624" indent="0">
              <a:buNone/>
              <a:defRPr sz="1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42" y="2175209"/>
            <a:ext cx="5387079" cy="3951555"/>
          </a:xfrm>
        </p:spPr>
        <p:txBody>
          <a:bodyPr/>
          <a:lstStyle>
            <a:lvl1pPr>
              <a:defRPr sz="1760"/>
            </a:lvl1pPr>
            <a:lvl2pPr>
              <a:defRPr sz="1592"/>
            </a:lvl2pPr>
            <a:lvl3pPr>
              <a:defRPr sz="1341"/>
            </a:lvl3pPr>
            <a:lvl4pPr>
              <a:defRPr sz="1173"/>
            </a:lvl4pPr>
            <a:lvl5pPr>
              <a:defRPr sz="1173"/>
            </a:lvl5pPr>
            <a:lvl6pPr>
              <a:defRPr sz="1173"/>
            </a:lvl6pPr>
            <a:lvl7pPr>
              <a:defRPr sz="1173"/>
            </a:lvl7pPr>
            <a:lvl8pPr>
              <a:defRPr sz="1173"/>
            </a:lvl8pPr>
            <a:lvl9pPr>
              <a:defRPr sz="117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81" y="1534560"/>
            <a:ext cx="5388889" cy="640599"/>
          </a:xfrm>
        </p:spPr>
        <p:txBody>
          <a:bodyPr anchor="b"/>
          <a:lstStyle>
            <a:lvl1pPr marL="0" indent="0">
              <a:buNone/>
              <a:defRPr sz="1760" b="1"/>
            </a:lvl1pPr>
            <a:lvl2pPr marL="333814" indent="0">
              <a:buNone/>
              <a:defRPr sz="1592" b="1"/>
            </a:lvl2pPr>
            <a:lvl3pPr marL="667652" indent="0">
              <a:buNone/>
              <a:defRPr sz="1341" b="1"/>
            </a:lvl3pPr>
            <a:lvl4pPr marL="1001479" indent="0">
              <a:buNone/>
              <a:defRPr sz="1173" b="1"/>
            </a:lvl4pPr>
            <a:lvl5pPr marL="1335308" indent="0">
              <a:buNone/>
              <a:defRPr sz="1173" b="1"/>
            </a:lvl5pPr>
            <a:lvl6pPr marL="1669138" indent="0">
              <a:buNone/>
              <a:defRPr sz="1173" b="1"/>
            </a:lvl6pPr>
            <a:lvl7pPr marL="2002965" indent="0">
              <a:buNone/>
              <a:defRPr sz="1173" b="1"/>
            </a:lvl7pPr>
            <a:lvl8pPr marL="2336795" indent="0">
              <a:buNone/>
              <a:defRPr sz="1173" b="1"/>
            </a:lvl8pPr>
            <a:lvl9pPr marL="2670624" indent="0">
              <a:buNone/>
              <a:defRPr sz="117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81" y="2175209"/>
            <a:ext cx="5388889" cy="3951555"/>
          </a:xfrm>
        </p:spPr>
        <p:txBody>
          <a:bodyPr/>
          <a:lstStyle>
            <a:lvl1pPr>
              <a:defRPr sz="1760"/>
            </a:lvl1pPr>
            <a:lvl2pPr>
              <a:defRPr sz="1592"/>
            </a:lvl2pPr>
            <a:lvl3pPr>
              <a:defRPr sz="1341"/>
            </a:lvl3pPr>
            <a:lvl4pPr>
              <a:defRPr sz="1173"/>
            </a:lvl4pPr>
            <a:lvl5pPr>
              <a:defRPr sz="1173"/>
            </a:lvl5pPr>
            <a:lvl6pPr>
              <a:defRPr sz="1173"/>
            </a:lvl6pPr>
            <a:lvl7pPr>
              <a:defRPr sz="1173"/>
            </a:lvl7pPr>
            <a:lvl8pPr>
              <a:defRPr sz="1173"/>
            </a:lvl8pPr>
            <a:lvl9pPr>
              <a:defRPr sz="117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00438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88247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05141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592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9" y="273516"/>
            <a:ext cx="6815785" cy="5853196"/>
          </a:xfrm>
        </p:spPr>
        <p:txBody>
          <a:bodyPr/>
          <a:lstStyle>
            <a:lvl1pPr>
              <a:defRPr sz="2346"/>
            </a:lvl1pPr>
            <a:lvl2pPr>
              <a:defRPr sz="2179"/>
            </a:lvl2pPr>
            <a:lvl3pPr>
              <a:defRPr sz="1760"/>
            </a:lvl3pPr>
            <a:lvl4pPr>
              <a:defRPr sz="1592"/>
            </a:lvl4pPr>
            <a:lvl5pPr>
              <a:defRPr sz="1592"/>
            </a:lvl5pPr>
            <a:lvl6pPr>
              <a:defRPr sz="1592"/>
            </a:lvl6pPr>
            <a:lvl7pPr>
              <a:defRPr sz="1592"/>
            </a:lvl7pPr>
            <a:lvl8pPr>
              <a:defRPr sz="1592"/>
            </a:lvl8pPr>
            <a:lvl9pPr>
              <a:defRPr sz="159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005"/>
            </a:lvl1pPr>
            <a:lvl2pPr marL="333814" indent="0">
              <a:buNone/>
              <a:defRPr sz="921"/>
            </a:lvl2pPr>
            <a:lvl3pPr marL="667652" indent="0">
              <a:buNone/>
              <a:defRPr sz="754"/>
            </a:lvl3pPr>
            <a:lvl4pPr marL="1001479" indent="0">
              <a:buNone/>
              <a:defRPr sz="670"/>
            </a:lvl4pPr>
            <a:lvl5pPr marL="1335308" indent="0">
              <a:buNone/>
              <a:defRPr sz="670"/>
            </a:lvl5pPr>
            <a:lvl6pPr marL="1669138" indent="0">
              <a:buNone/>
              <a:defRPr sz="670"/>
            </a:lvl6pPr>
            <a:lvl7pPr marL="2002965" indent="0">
              <a:buNone/>
              <a:defRPr sz="670"/>
            </a:lvl7pPr>
            <a:lvl8pPr marL="2336795" indent="0">
              <a:buNone/>
              <a:defRPr sz="670"/>
            </a:lvl8pPr>
            <a:lvl9pPr marL="2670624" indent="0">
              <a:buNone/>
              <a:defRPr sz="6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4254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23D551C-3CB7-4976-A437-43C9C403D14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091721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4" y="4800938"/>
            <a:ext cx="7315561" cy="565741"/>
          </a:xfrm>
        </p:spPr>
        <p:txBody>
          <a:bodyPr anchor="b"/>
          <a:lstStyle>
            <a:lvl1pPr algn="l">
              <a:defRPr sz="1592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4" y="613247"/>
            <a:ext cx="7315561" cy="4114224"/>
          </a:xfrm>
        </p:spPr>
        <p:txBody>
          <a:bodyPr/>
          <a:lstStyle>
            <a:lvl1pPr marL="0" indent="0">
              <a:buNone/>
              <a:defRPr sz="2346"/>
            </a:lvl1pPr>
            <a:lvl2pPr marL="333814" indent="0">
              <a:buNone/>
              <a:defRPr sz="2179"/>
            </a:lvl2pPr>
            <a:lvl3pPr marL="667652" indent="0">
              <a:buNone/>
              <a:defRPr sz="1760"/>
            </a:lvl3pPr>
            <a:lvl4pPr marL="1001479" indent="0">
              <a:buNone/>
              <a:defRPr sz="1592"/>
            </a:lvl4pPr>
            <a:lvl5pPr marL="1335308" indent="0">
              <a:buNone/>
              <a:defRPr sz="1592"/>
            </a:lvl5pPr>
            <a:lvl6pPr marL="1669138" indent="0">
              <a:buNone/>
              <a:defRPr sz="1592"/>
            </a:lvl6pPr>
            <a:lvl7pPr marL="2002965" indent="0">
              <a:buNone/>
              <a:defRPr sz="1592"/>
            </a:lvl7pPr>
            <a:lvl8pPr marL="2336795" indent="0">
              <a:buNone/>
              <a:defRPr sz="1592"/>
            </a:lvl8pPr>
            <a:lvl9pPr marL="2670624" indent="0">
              <a:buNone/>
              <a:defRPr sz="1592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4" y="5366633"/>
            <a:ext cx="7315561" cy="806146"/>
          </a:xfrm>
        </p:spPr>
        <p:txBody>
          <a:bodyPr/>
          <a:lstStyle>
            <a:lvl1pPr marL="0" indent="0">
              <a:buNone/>
              <a:defRPr sz="1005"/>
            </a:lvl1pPr>
            <a:lvl2pPr marL="333814" indent="0">
              <a:buNone/>
              <a:defRPr sz="921"/>
            </a:lvl2pPr>
            <a:lvl3pPr marL="667652" indent="0">
              <a:buNone/>
              <a:defRPr sz="754"/>
            </a:lvl3pPr>
            <a:lvl4pPr marL="1001479" indent="0">
              <a:buNone/>
              <a:defRPr sz="670"/>
            </a:lvl4pPr>
            <a:lvl5pPr marL="1335308" indent="0">
              <a:buNone/>
              <a:defRPr sz="670"/>
            </a:lvl5pPr>
            <a:lvl6pPr marL="1669138" indent="0">
              <a:buNone/>
              <a:defRPr sz="670"/>
            </a:lvl6pPr>
            <a:lvl7pPr marL="2002965" indent="0">
              <a:buNone/>
              <a:defRPr sz="670"/>
            </a:lvl7pPr>
            <a:lvl8pPr marL="2336795" indent="0">
              <a:buNone/>
              <a:defRPr sz="670"/>
            </a:lvl8pPr>
            <a:lvl9pPr marL="2670624" indent="0">
              <a:buNone/>
              <a:defRPr sz="6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967454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2494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4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4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186181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598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7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8526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92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592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4032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508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95135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3282439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15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530096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73104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B174DD92-4501-4330-BB37-AFCA0BFAD91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0643128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44444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5652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66760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48141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7843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04398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123340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205912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24798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5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8"/>
            <a:ext cx="10363108" cy="914111"/>
          </a:xfrm>
        </p:spPr>
        <p:txBody>
          <a:bodyPr anchor="t"/>
          <a:lstStyle>
            <a:lvl1pPr>
              <a:defRPr sz="3300">
                <a:solidFill>
                  <a:srgbClr val="7014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650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9071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0B31B4E3-3062-486F-807D-E448E3E4AB4D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A454A3D-9E25-4647-9824-23489C26C2B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13261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0108548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6479144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5"/>
            <a:ext cx="10363109" cy="1361811"/>
          </a:xfrm>
        </p:spPr>
        <p:txBody>
          <a:bodyPr anchor="t"/>
          <a:lstStyle>
            <a:lvl1pPr algn="l">
              <a:defRPr sz="2625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425"/>
            </a:lvl1pPr>
            <a:lvl2pPr marL="298799" indent="0">
              <a:buNone/>
              <a:defRPr sz="1200"/>
            </a:lvl2pPr>
            <a:lvl3pPr marL="597620" indent="0">
              <a:buNone/>
              <a:defRPr sz="1050"/>
            </a:lvl3pPr>
            <a:lvl4pPr marL="896431" indent="0">
              <a:buNone/>
              <a:defRPr sz="900"/>
            </a:lvl4pPr>
            <a:lvl5pPr marL="1195242" indent="0">
              <a:buNone/>
              <a:defRPr sz="900"/>
            </a:lvl5pPr>
            <a:lvl6pPr marL="1494056" indent="0">
              <a:buNone/>
              <a:defRPr sz="900"/>
            </a:lvl6pPr>
            <a:lvl7pPr marL="1792867" indent="0">
              <a:buNone/>
              <a:defRPr sz="900"/>
            </a:lvl7pPr>
            <a:lvl8pPr marL="2091681" indent="0">
              <a:buNone/>
              <a:defRPr sz="900"/>
            </a:lvl8pPr>
            <a:lvl9pPr marL="239049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93910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4"/>
            <a:ext cx="5397943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80" y="1600784"/>
            <a:ext cx="5399753" cy="4048005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257645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1"/>
            <a:ext cx="5387079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8"/>
            <a:ext cx="5387079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1"/>
            <a:ext cx="5388889" cy="640599"/>
          </a:xfrm>
        </p:spPr>
        <p:txBody>
          <a:bodyPr anchor="b"/>
          <a:lstStyle>
            <a:lvl1pPr marL="0" indent="0">
              <a:buNone/>
              <a:defRPr sz="1575" b="1"/>
            </a:lvl1pPr>
            <a:lvl2pPr marL="298799" indent="0">
              <a:buNone/>
              <a:defRPr sz="1425" b="1"/>
            </a:lvl2pPr>
            <a:lvl3pPr marL="597620" indent="0">
              <a:buNone/>
              <a:defRPr sz="1200" b="1"/>
            </a:lvl3pPr>
            <a:lvl4pPr marL="896431" indent="0">
              <a:buNone/>
              <a:defRPr sz="1050" b="1"/>
            </a:lvl4pPr>
            <a:lvl5pPr marL="1195242" indent="0">
              <a:buNone/>
              <a:defRPr sz="1050" b="1"/>
            </a:lvl5pPr>
            <a:lvl6pPr marL="1494056" indent="0">
              <a:buNone/>
              <a:defRPr sz="1050" b="1"/>
            </a:lvl6pPr>
            <a:lvl7pPr marL="1792867" indent="0">
              <a:buNone/>
              <a:defRPr sz="1050" b="1"/>
            </a:lvl7pPr>
            <a:lvl8pPr marL="2091681" indent="0">
              <a:buNone/>
              <a:defRPr sz="1050" b="1"/>
            </a:lvl8pPr>
            <a:lvl9pPr marL="2390492" indent="0">
              <a:buNone/>
              <a:defRPr sz="105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8"/>
            <a:ext cx="5388889" cy="3951555"/>
          </a:xfrm>
        </p:spPr>
        <p:txBody>
          <a:bodyPr/>
          <a:lstStyle>
            <a:lvl1pPr>
              <a:defRPr sz="1575"/>
            </a:lvl1pPr>
            <a:lvl2pPr>
              <a:defRPr sz="1425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00598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791910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40857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6" y="273561"/>
            <a:ext cx="4010883" cy="1161714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100"/>
            </a:lvl1pPr>
            <a:lvl2pPr>
              <a:defRPr sz="1950"/>
            </a:lvl2pPr>
            <a:lvl3pPr>
              <a:defRPr sz="1575"/>
            </a:lvl3pPr>
            <a:lvl4pPr>
              <a:defRPr sz="1425"/>
            </a:lvl4pPr>
            <a:lvl5pPr>
              <a:defRPr sz="1425"/>
            </a:lvl5pPr>
            <a:lvl6pPr>
              <a:defRPr sz="1425"/>
            </a:lvl6pPr>
            <a:lvl7pPr>
              <a:defRPr sz="1425"/>
            </a:lvl7pPr>
            <a:lvl8pPr>
              <a:defRPr sz="1425"/>
            </a:lvl8pPr>
            <a:lvl9pPr>
              <a:defRPr sz="14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6" y="1435230"/>
            <a:ext cx="4010883" cy="4691482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989750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40"/>
            <a:ext cx="7315561" cy="565741"/>
          </a:xfrm>
        </p:spPr>
        <p:txBody>
          <a:bodyPr anchor="b"/>
          <a:lstStyle>
            <a:lvl1pPr algn="l">
              <a:defRPr sz="142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100"/>
            </a:lvl1pPr>
            <a:lvl2pPr marL="298799" indent="0">
              <a:buNone/>
              <a:defRPr sz="1950"/>
            </a:lvl2pPr>
            <a:lvl3pPr marL="597620" indent="0">
              <a:buNone/>
              <a:defRPr sz="1575"/>
            </a:lvl3pPr>
            <a:lvl4pPr marL="896431" indent="0">
              <a:buNone/>
              <a:defRPr sz="1425"/>
            </a:lvl4pPr>
            <a:lvl5pPr marL="1195242" indent="0">
              <a:buNone/>
              <a:defRPr sz="1425"/>
            </a:lvl5pPr>
            <a:lvl6pPr marL="1494056" indent="0">
              <a:buNone/>
              <a:defRPr sz="1425"/>
            </a:lvl6pPr>
            <a:lvl7pPr marL="1792867" indent="0">
              <a:buNone/>
              <a:defRPr sz="1425"/>
            </a:lvl7pPr>
            <a:lvl8pPr marL="2091681" indent="0">
              <a:buNone/>
              <a:defRPr sz="1425"/>
            </a:lvl8pPr>
            <a:lvl9pPr marL="2390492" indent="0">
              <a:buNone/>
              <a:defRPr sz="1425"/>
            </a:lvl9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0"/>
            <a:ext cx="7315561" cy="806146"/>
          </a:xfrm>
        </p:spPr>
        <p:txBody>
          <a:bodyPr/>
          <a:lstStyle>
            <a:lvl1pPr marL="0" indent="0">
              <a:buNone/>
              <a:defRPr sz="900"/>
            </a:lvl1pPr>
            <a:lvl2pPr marL="298799" indent="0">
              <a:buNone/>
              <a:defRPr sz="825"/>
            </a:lvl2pPr>
            <a:lvl3pPr marL="597620" indent="0">
              <a:buNone/>
              <a:defRPr sz="675"/>
            </a:lvl3pPr>
            <a:lvl4pPr marL="896431" indent="0">
              <a:buNone/>
              <a:defRPr sz="600"/>
            </a:lvl4pPr>
            <a:lvl5pPr marL="1195242" indent="0">
              <a:buNone/>
              <a:defRPr sz="600"/>
            </a:lvl5pPr>
            <a:lvl6pPr marL="1494056" indent="0">
              <a:buNone/>
              <a:defRPr sz="600"/>
            </a:lvl6pPr>
            <a:lvl7pPr marL="1792867" indent="0">
              <a:buNone/>
              <a:defRPr sz="600"/>
            </a:lvl7pPr>
            <a:lvl8pPr marL="2091681" indent="0">
              <a:buNone/>
              <a:defRPr sz="600"/>
            </a:lvl8pPr>
            <a:lvl9pPr marL="239049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99726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1992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D4AA465-B0AC-427D-8911-4DBAA71542F9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698819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7" y="275003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2" y="275003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08323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325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6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74670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50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50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425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25" dirty="0">
                <a:solidFill>
                  <a:prstClr val="black"/>
                </a:solidFill>
                <a:latin typeface="Arial"/>
                <a:ea typeface="ＭＳ Ｐゴシック" pitchFamily="34" charset="-128"/>
              </a:rPr>
              <a:t>Page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9325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4" name="Shape 55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5" name="Shape 55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342900" lvl="0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1pPr>
            <a:lvl2pPr marL="685800" lvl="1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028700" lvl="2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371600" lvl="3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1714500" lvl="4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057400" lvl="5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2400300" lvl="6" indent="-238125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2743200" lvl="7" indent="-238125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3086100" lvl="8" indent="-23812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56" name="Shape 55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62355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.2. Text - Three columns - Text"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Shape 200"/>
          <p:cNvSpPr txBox="1">
            <a:spLocks noGrp="1"/>
          </p:cNvSpPr>
          <p:nvPr>
            <p:ph type="title"/>
          </p:nvPr>
        </p:nvSpPr>
        <p:spPr>
          <a:xfrm>
            <a:off x="110800" y="15200"/>
            <a:ext cx="11917600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201" name="Shape 201"/>
          <p:cNvSpPr txBox="1">
            <a:spLocks noGrp="1"/>
          </p:cNvSpPr>
          <p:nvPr>
            <p:ph type="subTitle" idx="1"/>
          </p:nvPr>
        </p:nvSpPr>
        <p:spPr>
          <a:xfrm>
            <a:off x="110800" y="595400"/>
            <a:ext cx="11917600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2" name="Shape 202"/>
          <p:cNvSpPr txBox="1">
            <a:spLocks noGrp="1"/>
          </p:cNvSpPr>
          <p:nvPr>
            <p:ph type="sldNum" idx="12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spcBef>
                <a:spcPts val="0"/>
              </a:spcBef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 dirty="0">
              <a:solidFill>
                <a:srgbClr val="434342"/>
              </a:solidFill>
            </a:endParaRPr>
          </a:p>
        </p:txBody>
      </p:sp>
      <p:sp>
        <p:nvSpPr>
          <p:cNvPr id="203" name="Shape 203"/>
          <p:cNvSpPr txBox="1">
            <a:spLocks noGrp="1"/>
          </p:cNvSpPr>
          <p:nvPr>
            <p:ph type="body" idx="2"/>
          </p:nvPr>
        </p:nvSpPr>
        <p:spPr>
          <a:xfrm>
            <a:off x="734233" y="1410100"/>
            <a:ext cx="348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4" name="Shape 204"/>
          <p:cNvSpPr txBox="1">
            <a:spLocks noGrp="1"/>
          </p:cNvSpPr>
          <p:nvPr>
            <p:ph type="body" idx="3"/>
          </p:nvPr>
        </p:nvSpPr>
        <p:spPr>
          <a:xfrm>
            <a:off x="4386905" y="1410100"/>
            <a:ext cx="354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205" name="Shape 205"/>
          <p:cNvSpPr txBox="1">
            <a:spLocks noGrp="1"/>
          </p:cNvSpPr>
          <p:nvPr>
            <p:ph type="body" idx="4"/>
          </p:nvPr>
        </p:nvSpPr>
        <p:spPr>
          <a:xfrm>
            <a:off x="8112964" y="1410100"/>
            <a:ext cx="3545200" cy="501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6223859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_3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Shape 558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Char char="●"/>
              <a:defRPr sz="39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Char char="○"/>
              <a:defRPr sz="39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Char char="■"/>
              <a:defRPr sz="3900"/>
            </a:lvl9pPr>
          </a:lstStyle>
          <a:p>
            <a:endParaRPr/>
          </a:p>
        </p:txBody>
      </p:sp>
      <p:sp>
        <p:nvSpPr>
          <p:cNvPr id="559" name="Shape 559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100"/>
            </a:lvl9pPr>
          </a:lstStyle>
          <a:p>
            <a:endParaRPr/>
          </a:p>
        </p:txBody>
      </p:sp>
      <p:sp>
        <p:nvSpPr>
          <p:cNvPr id="560" name="Shape 56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56842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.0.2 Text - One columns - Text and pattern">
  <p:cSld name="4.0.2 Text - One columns - Text and pattern">
    <p:spTree>
      <p:nvGrpSpPr>
        <p:cNvPr id="1" name="Shape 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" name="Shape 822"/>
          <p:cNvSpPr txBox="1">
            <a:spLocks noGrp="1"/>
          </p:cNvSpPr>
          <p:nvPr>
            <p:ph type="sldNum" idx="12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>
                <a:solidFill>
                  <a:srgbClr val="434342"/>
                </a:solidFill>
              </a:rPr>
              <a:pPr/>
              <a:t>‹#›</a:t>
            </a:fld>
            <a:endParaRPr lang="en-GB" dirty="0">
              <a:solidFill>
                <a:srgbClr val="434342"/>
              </a:solidFill>
            </a:endParaRPr>
          </a:p>
        </p:txBody>
      </p:sp>
      <p:sp>
        <p:nvSpPr>
          <p:cNvPr id="823" name="Shape 823"/>
          <p:cNvSpPr/>
          <p:nvPr/>
        </p:nvSpPr>
        <p:spPr>
          <a:xfrm>
            <a:off x="9141467" y="-200"/>
            <a:ext cx="3050800" cy="6858000"/>
          </a:xfrm>
          <a:prstGeom prst="rect">
            <a:avLst/>
          </a:prstGeom>
          <a:solidFill>
            <a:srgbClr val="41A2B0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sz="135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824" name="Shape 824"/>
          <p:cNvSpPr txBox="1">
            <a:spLocks noGrp="1"/>
          </p:cNvSpPr>
          <p:nvPr>
            <p:ph type="title"/>
          </p:nvPr>
        </p:nvSpPr>
        <p:spPr>
          <a:xfrm>
            <a:off x="212400" y="15200"/>
            <a:ext cx="9030800" cy="6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2250">
                <a:solidFill>
                  <a:srgbClr val="263238"/>
                </a:solidFill>
                <a:latin typeface="Yrsa"/>
                <a:ea typeface="Yrsa"/>
                <a:cs typeface="Yrsa"/>
                <a:sym typeface="Yrs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263238"/>
                </a:solidFill>
              </a:defRPr>
            </a:lvl9pPr>
          </a:lstStyle>
          <a:p>
            <a:endParaRPr/>
          </a:p>
        </p:txBody>
      </p:sp>
      <p:sp>
        <p:nvSpPr>
          <p:cNvPr id="825" name="Shape 825"/>
          <p:cNvSpPr txBox="1">
            <a:spLocks noGrp="1"/>
          </p:cNvSpPr>
          <p:nvPr>
            <p:ph type="subTitle" idx="1"/>
          </p:nvPr>
        </p:nvSpPr>
        <p:spPr>
          <a:xfrm>
            <a:off x="212400" y="595400"/>
            <a:ext cx="9030800" cy="59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826" name="Shape 826"/>
          <p:cNvSpPr txBox="1">
            <a:spLocks noGrp="1"/>
          </p:cNvSpPr>
          <p:nvPr>
            <p:ph type="body" idx="2"/>
          </p:nvPr>
        </p:nvSpPr>
        <p:spPr>
          <a:xfrm>
            <a:off x="835833" y="1410100"/>
            <a:ext cx="6339200" cy="516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42900" lvl="0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lvl="1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028700" lvl="2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371600" lvl="3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4pPr>
            <a:lvl5pPr marL="1714500" lvl="4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057400" lvl="5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400300" lvl="6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●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7pPr>
            <a:lvl8pPr marL="2743200" lvl="7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○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086100" lvl="8" indent="-228600" rtl="0">
              <a:spcBef>
                <a:spcPts val="0"/>
              </a:spcBef>
              <a:spcAft>
                <a:spcPts val="0"/>
              </a:spcAft>
              <a:buClr>
                <a:srgbClr val="4A4A4A"/>
              </a:buClr>
              <a:buSzPts val="1200"/>
              <a:buFont typeface="Lato"/>
              <a:buChar char="■"/>
              <a:defRPr sz="900">
                <a:solidFill>
                  <a:srgbClr val="4A4A4A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pic>
        <p:nvPicPr>
          <p:cNvPr id="827" name="Shape 827"/>
          <p:cNvPicPr preferRelativeResize="0"/>
          <p:nvPr/>
        </p:nvPicPr>
        <p:blipFill rotWithShape="1">
          <a:blip r:embed="rId2">
            <a:alphaModFix amt="12000"/>
          </a:blip>
          <a:srcRect l="74965"/>
          <a:stretch/>
        </p:blipFill>
        <p:spPr>
          <a:xfrm>
            <a:off x="9138400" y="0"/>
            <a:ext cx="3050800" cy="6840800"/>
          </a:xfrm>
          <a:prstGeom prst="rect">
            <a:avLst/>
          </a:prstGeom>
          <a:noFill/>
          <a:ln>
            <a:noFill/>
          </a:ln>
        </p:spPr>
      </p:pic>
      <p:sp>
        <p:nvSpPr>
          <p:cNvPr id="828" name="Shape 828"/>
          <p:cNvSpPr txBox="1">
            <a:spLocks noGrp="1"/>
          </p:cNvSpPr>
          <p:nvPr>
            <p:ph type="sldNum" idx="3"/>
          </p:nvPr>
        </p:nvSpPr>
        <p:spPr>
          <a:xfrm>
            <a:off x="11296600" y="6420827"/>
            <a:ext cx="731600" cy="23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1pPr>
            <a:lvl2pPr lvl="1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2pPr>
            <a:lvl3pPr lvl="2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3pPr>
            <a:lvl4pPr lvl="3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4pPr>
            <a:lvl5pPr lvl="4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5pPr>
            <a:lvl6pPr lvl="5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6pPr>
            <a:lvl7pPr lvl="6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7pPr>
            <a:lvl8pPr lvl="7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8pPr>
            <a:lvl9pPr lvl="8" algn="r" rtl="0">
              <a:buNone/>
              <a:defRPr sz="525">
                <a:solidFill>
                  <a:srgbClr val="FFFFFF"/>
                </a:solidFill>
                <a:latin typeface="Lato Black"/>
                <a:ea typeface="Lato Black"/>
                <a:cs typeface="Lato Black"/>
                <a:sym typeface="Lato Black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78092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0.0 Rulebook - Logo">
  <p:cSld name="0.0 Rulebook - Logo"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57198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" y="2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3"/>
            <a:ext cx="10363108" cy="914112"/>
          </a:xfrm>
        </p:spPr>
        <p:txBody>
          <a:bodyPr anchor="t"/>
          <a:lstStyle>
            <a:lvl1pPr>
              <a:defRPr sz="442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6" y="2971225"/>
            <a:ext cx="10348623" cy="1751929"/>
          </a:xfrm>
        </p:spPr>
        <p:txBody>
          <a:bodyPr/>
          <a:lstStyle>
            <a:lvl1pPr marL="0" indent="0" eaLnBrk="0" hangingPunct="0">
              <a:buFontTx/>
              <a:buNone/>
              <a:defRPr sz="221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437238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54889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95790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38" y="4406462"/>
            <a:ext cx="10363109" cy="136181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38" y="2906445"/>
            <a:ext cx="10363109" cy="1500008"/>
          </a:xfrm>
        </p:spPr>
        <p:txBody>
          <a:bodyPr anchor="b"/>
          <a:lstStyle>
            <a:lvl1pPr marL="0" indent="0">
              <a:buNone/>
              <a:defRPr sz="1786"/>
            </a:lvl1pPr>
            <a:lvl2pPr marL="400499" indent="0">
              <a:buNone/>
              <a:defRPr sz="1571"/>
            </a:lvl2pPr>
            <a:lvl3pPr marL="800998" indent="0">
              <a:buNone/>
              <a:defRPr sz="1429"/>
            </a:lvl3pPr>
            <a:lvl4pPr marL="1201497" indent="0">
              <a:buNone/>
              <a:defRPr sz="1214"/>
            </a:lvl4pPr>
            <a:lvl5pPr marL="1601995" indent="0">
              <a:buNone/>
              <a:defRPr sz="1214"/>
            </a:lvl5pPr>
            <a:lvl6pPr marL="2002495" indent="0">
              <a:buNone/>
              <a:defRPr sz="1214"/>
            </a:lvl6pPr>
            <a:lvl7pPr marL="2402992" indent="0">
              <a:buNone/>
              <a:defRPr sz="1214"/>
            </a:lvl7pPr>
            <a:lvl8pPr marL="2803490" indent="0">
              <a:buNone/>
              <a:defRPr sz="1214"/>
            </a:lvl8pPr>
            <a:lvl9pPr marL="3203987" indent="0">
              <a:buNone/>
              <a:defRPr sz="12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36794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36" y="1600785"/>
            <a:ext cx="539794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25" y="1600785"/>
            <a:ext cx="539975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28686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5" y="1534566"/>
            <a:ext cx="5387077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5" y="2175164"/>
            <a:ext cx="5387077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7" y="1534566"/>
            <a:ext cx="5388889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7" y="2175164"/>
            <a:ext cx="5388889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55553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90373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0593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19"/>
            <a:ext cx="4010883" cy="1161715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92" y="273515"/>
            <a:ext cx="6815785" cy="5853196"/>
          </a:xfrm>
        </p:spPr>
        <p:txBody>
          <a:bodyPr/>
          <a:lstStyle>
            <a:lvl1pPr>
              <a:defRPr sz="2786"/>
            </a:lvl1pPr>
            <a:lvl2pPr>
              <a:defRPr sz="2500"/>
            </a:lvl2pPr>
            <a:lvl3pPr>
              <a:defRPr sz="2071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28"/>
            <a:ext cx="4010883" cy="4691482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142287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5" y="4800898"/>
            <a:ext cx="7315561" cy="565741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5" y="613247"/>
            <a:ext cx="7315561" cy="4114224"/>
          </a:xfrm>
        </p:spPr>
        <p:txBody>
          <a:bodyPr/>
          <a:lstStyle>
            <a:lvl1pPr marL="0" indent="0">
              <a:buNone/>
              <a:defRPr sz="2786"/>
            </a:lvl1pPr>
            <a:lvl2pPr marL="400499" indent="0">
              <a:buNone/>
              <a:defRPr sz="2500"/>
            </a:lvl2pPr>
            <a:lvl3pPr marL="800998" indent="0">
              <a:buNone/>
              <a:defRPr sz="2071"/>
            </a:lvl3pPr>
            <a:lvl4pPr marL="1201497" indent="0">
              <a:buNone/>
              <a:defRPr sz="1786"/>
            </a:lvl4pPr>
            <a:lvl5pPr marL="1601995" indent="0">
              <a:buNone/>
              <a:defRPr sz="1786"/>
            </a:lvl5pPr>
            <a:lvl6pPr marL="2002495" indent="0">
              <a:buNone/>
              <a:defRPr sz="1786"/>
            </a:lvl6pPr>
            <a:lvl7pPr marL="2402992" indent="0">
              <a:buNone/>
              <a:defRPr sz="1786"/>
            </a:lvl7pPr>
            <a:lvl8pPr marL="2803490" indent="0">
              <a:buNone/>
              <a:defRPr sz="1786"/>
            </a:lvl8pPr>
            <a:lvl9pPr marL="3203987" indent="0">
              <a:buNone/>
              <a:defRPr sz="1786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5" y="5366630"/>
            <a:ext cx="7315561" cy="806146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85292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9918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2" y="274955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6" y="274955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86964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3214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19" y="1078312"/>
            <a:ext cx="11157084" cy="41798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7640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4423DE9-EF5E-45C2-A44C-C472AFBF2A5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1580251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09936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299BB5E6-B154-485D-B816-28415185B40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22094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3E61776-EC1C-40F8-82E8-101CAD6C470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013235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B2535D2-68B8-432B-8A87-70207F901C6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23539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1EC0F64-C217-48A1-9452-9D4EDB799B5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53186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AC6F386-729E-46F5-84A4-C64C04B9058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790573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5647AF3-D27E-4F47-9339-38931EE1289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936907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AEF17F6-96C4-4C3D-ADA2-D9949906A7C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72801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2D7C5F4-CE1B-438A-B143-AC617DE4F19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128012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03A48A39-F761-4F7C-A58D-305E7C86069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52269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715E6BFE-E9A7-4CEA-95D0-413766E12CE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969629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02703FF-AB8B-4BDE-A2B7-4AFC02B6D12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6524654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EFD429A1-2D5F-4F79-8BA5-516DC3E7441C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89C2021-57F6-4E09-B110-D7DE453716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2025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636F3AB-6976-4D0F-9073-6261BE3F00A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099095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A4_Landscape_presentation_260_shadow.png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91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18747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7FEA661-B5CC-4151-927E-C5A10AECEBAC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0675301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80183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9680" tIns="39840" rIns="79680" bIns="3984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D38505B-7DCB-498C-B1BD-80567AA6A285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7990594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FD3EDBD-29D2-48BD-820A-C64AACFAB16E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3136711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E6D3085-8E5A-46DC-A58A-88C5953CAF3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184272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2253297-4909-4C7A-B658-07D262FD06A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49263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2435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98ADDAC7-8C86-4EDF-9D12-1B876ACD5E8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426735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C357695-521D-43C0-917E-42B912D7749B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3907610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ADE25F6-B5DF-4494-A76E-7E1321E3CE6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496497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1FE6AA8B-4017-483F-9B1D-4747DB7D0496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5648425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E50FE40-ADAE-4768-AEDF-33C7BE70ABE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121470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A42732F-BD1E-4256-A375-14E3BAB146A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164730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FE5869B-BFBF-41F5-84BA-0196101F9FB1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401718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E8284EF0-7054-4C16-A0FC-AD92E8C5F3CC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6656821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2"/>
          <p:cNvSpPr txBox="1">
            <a:spLocks/>
          </p:cNvSpPr>
          <p:nvPr userDrawn="1"/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lIns="78191" tIns="39095" rIns="78191" bIns="39095" anchor="ctr"/>
          <a:lstStyle>
            <a:defPPr>
              <a:defRPr lang="en-US"/>
            </a:defPPr>
            <a:lvl1pPr marL="0" algn="r" defTabSz="1043056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D9D9BFC5-B8E3-4F97-81BB-45D7A3B37938}" type="slidenum">
              <a:rPr lang="en-IE" sz="1026" smtClean="0">
                <a:solidFill>
                  <a:srgbClr val="000000">
                    <a:tint val="75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IE" sz="1026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0147300" y="25400"/>
            <a:ext cx="2034117" cy="152400"/>
          </a:xfrm>
        </p:spPr>
        <p:txBody>
          <a:bodyPr/>
          <a:lstStyle>
            <a:lvl1pPr defTabSz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CCDDB2E1-B83D-44AB-8CDD-55F0DEB434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4909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609600" y="624205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97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67F15E6-D49F-4222-94C6-74942DE9F24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4149210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56" y="5340096"/>
            <a:ext cx="1316736" cy="1156968"/>
          </a:xfrm>
          <a:prstGeom prst="rect">
            <a:avLst/>
          </a:prstGeom>
        </p:spPr>
      </p:pic>
      <p:sp>
        <p:nvSpPr>
          <p:cNvPr id="16" name="Rectangle 1"/>
          <p:cNvSpPr>
            <a:spLocks noChangeAspect="1"/>
          </p:cNvSpPr>
          <p:nvPr userDrawn="1"/>
        </p:nvSpPr>
        <p:spPr>
          <a:xfrm>
            <a:off x="2577042" y="777241"/>
            <a:ext cx="9007476" cy="3400425"/>
          </a:xfrm>
          <a:custGeom>
            <a:avLst/>
            <a:gdLst>
              <a:gd name="connsiteX0" fmla="*/ 0 w 6753225"/>
              <a:gd name="connsiteY0" fmla="*/ 0 h 3400425"/>
              <a:gd name="connsiteX1" fmla="*/ 6753225 w 6753225"/>
              <a:gd name="connsiteY1" fmla="*/ 0 h 3400425"/>
              <a:gd name="connsiteX2" fmla="*/ 6753225 w 6753225"/>
              <a:gd name="connsiteY2" fmla="*/ 3400425 h 3400425"/>
              <a:gd name="connsiteX3" fmla="*/ 0 w 6753225"/>
              <a:gd name="connsiteY3" fmla="*/ 3400425 h 3400425"/>
              <a:gd name="connsiteX4" fmla="*/ 0 w 6753225"/>
              <a:gd name="connsiteY4" fmla="*/ 0 h 3400425"/>
              <a:gd name="connsiteX0" fmla="*/ 0 w 6755607"/>
              <a:gd name="connsiteY0" fmla="*/ 1197768 h 3400425"/>
              <a:gd name="connsiteX1" fmla="*/ 6755607 w 6755607"/>
              <a:gd name="connsiteY1" fmla="*/ 0 h 3400425"/>
              <a:gd name="connsiteX2" fmla="*/ 6755607 w 6755607"/>
              <a:gd name="connsiteY2" fmla="*/ 3400425 h 3400425"/>
              <a:gd name="connsiteX3" fmla="*/ 2382 w 6755607"/>
              <a:gd name="connsiteY3" fmla="*/ 3400425 h 3400425"/>
              <a:gd name="connsiteX4" fmla="*/ 0 w 6755607"/>
              <a:gd name="connsiteY4" fmla="*/ 1197768 h 340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55607" h="3400425">
                <a:moveTo>
                  <a:pt x="0" y="1197768"/>
                </a:moveTo>
                <a:lnTo>
                  <a:pt x="6755607" y="0"/>
                </a:lnTo>
                <a:lnTo>
                  <a:pt x="6755607" y="3400425"/>
                </a:lnTo>
                <a:lnTo>
                  <a:pt x="2382" y="3400425"/>
                </a:lnTo>
                <a:lnTo>
                  <a:pt x="0" y="11977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950463" y="2240280"/>
            <a:ext cx="8290560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950464" y="3220754"/>
            <a:ext cx="8290560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0" indent="0" algn="l">
              <a:buNone/>
              <a:defRPr sz="1600">
                <a:solidFill>
                  <a:srgbClr val="404040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8889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7856" y="5340096"/>
            <a:ext cx="1316736" cy="1156968"/>
          </a:xfrm>
          <a:prstGeom prst="rect">
            <a:avLst/>
          </a:prstGeom>
        </p:spPr>
      </p:pic>
      <p:sp>
        <p:nvSpPr>
          <p:cNvPr id="3" name="Freeform 5"/>
          <p:cNvSpPr>
            <a:spLocks noChangeAspect="1"/>
          </p:cNvSpPr>
          <p:nvPr userDrawn="1"/>
        </p:nvSpPr>
        <p:spPr bwMode="gray">
          <a:xfrm rot="10800000">
            <a:off x="4369393" y="457201"/>
            <a:ext cx="7217664" cy="4570413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742812" y="1677507"/>
            <a:ext cx="6534912" cy="860400"/>
          </a:xfrm>
        </p:spPr>
        <p:txBody>
          <a:bodyPr/>
          <a:lstStyle>
            <a:lvl1pPr>
              <a:defRPr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742812" y="2685128"/>
            <a:ext cx="6534912" cy="645742"/>
          </a:xfrm>
        </p:spPr>
        <p:txBody>
          <a:bodyPr/>
          <a:lstStyle>
            <a:lvl1pPr marL="0" indent="0" algn="l">
              <a:buNone/>
              <a:defRPr sz="2000">
                <a:solidFill>
                  <a:srgbClr val="404040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19184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with beam (legac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 userDrawn="1"/>
        </p:nvGrpSpPr>
        <p:grpSpPr>
          <a:xfrm>
            <a:off x="-8709" y="2405084"/>
            <a:ext cx="12200709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800" dirty="0">
                <a:solidFill>
                  <a:srgbClr val="646464"/>
                </a:solidFill>
                <a:latin typeface="Arial"/>
                <a:ea typeface="+mn-ea"/>
                <a:cs typeface="Arial" pitchFamily="34" charset="0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23616" y="777600"/>
            <a:ext cx="7365771" cy="860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23616" y="1753200"/>
            <a:ext cx="7365771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10" name="Picture 9" descr="EY_Logo2.e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023617" y="5754254"/>
            <a:ext cx="1318871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3627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601"/>
            <a:ext cx="10972800" cy="46989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fld id="{D7B4CD9F-E57F-B14C-8601-6E93234C94D7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51200" y="6492240"/>
            <a:ext cx="5388000" cy="201168"/>
          </a:xfrm>
        </p:spPr>
        <p:txBody>
          <a:bodyPr/>
          <a:lstStyle>
            <a:lvl1pPr>
              <a:defRPr sz="900"/>
            </a:lvl1pPr>
          </a:lstStyle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1413837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599"/>
            <a:ext cx="109728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770C3-A9D5-D943-AD3D-30E5233CB073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38163364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599"/>
            <a:ext cx="10972800" cy="46989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356616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 marL="713232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1069848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426464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B21B62-A476-954C-8B3C-F25D8A05034D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3032003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DE491-CDEB-014E-BF6F-5144355BA38E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7442396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3AE42DFF-7B08-4ABD-A882-13663293E7D3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719483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8CC13E-4AF5-264C-B16D-C2AB7993FD9F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6270130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26465"/>
            <a:ext cx="53848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26465"/>
            <a:ext cx="5384800" cy="469106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8F28B-84D5-D74A-89D7-B4BA2E380BB4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4982851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121114"/>
            <a:ext cx="53904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1600" y="2121114"/>
            <a:ext cx="5390400" cy="3994963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0" y="1426464"/>
            <a:ext cx="53904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201600" y="1426464"/>
            <a:ext cx="5390400" cy="640800"/>
          </a:xfrm>
          <a:prstGeom prst="rect">
            <a:avLst/>
          </a:prstGeo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17BE14-B522-B049-AE70-9F84EAF909A6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2535380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07485" y="1024129"/>
            <a:ext cx="10972800" cy="16430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E6FE4918-7868-1E4F-8249-03544962F422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30511280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609600" y="1042417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BB205-8E6E-584E-ABE8-7960ED570CB1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9165438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6" name="Freeform 5"/>
          <p:cNvSpPr>
            <a:spLocks/>
          </p:cNvSpPr>
          <p:nvPr userDrawn="1"/>
        </p:nvSpPr>
        <p:spPr bwMode="gray">
          <a:xfrm>
            <a:off x="609600" y="1042417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B57C44-143E-C14C-95D1-B5822E9032B8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6107046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609600" y="201168"/>
            <a:ext cx="109728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gray">
          <a:xfrm>
            <a:off x="609600" y="1033273"/>
            <a:ext cx="109728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D04845-0A87-5845-B358-88F739EA5C24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286036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C3789B-6751-124A-9E7F-5CBBC414BA43}" type="datetime1">
              <a:rPr lang="en-GB" smtClean="0">
                <a:solidFill>
                  <a:srgbClr val="646464"/>
                </a:solidFill>
              </a:rPr>
              <a:pPr/>
              <a:t>05/07/2019</a:t>
            </a:fld>
            <a:endParaRPr lang="en-US" dirty="0">
              <a:solidFill>
                <a:srgbClr val="64646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Demand led transformation of support services in Croydon</a:t>
            </a:r>
          </a:p>
        </p:txBody>
      </p:sp>
    </p:spTree>
    <p:extLst>
      <p:ext uri="{BB962C8B-B14F-4D97-AF65-F5344CB8AC3E}">
        <p14:creationId xmlns:p14="http://schemas.microsoft.com/office/powerpoint/2010/main" val="14939166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  <a:prstGeom prst="rect">
            <a:avLst/>
          </a:prstGeo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458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49361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363D3AE5-E3F1-443C-BA99-1723AB9EF7D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6361643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 bwMode="gray">
          <a:xfrm>
            <a:off x="624418" y="620575"/>
            <a:ext cx="5473700" cy="23512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239" eaLnBrk="1" fontAlgn="auto" hangingPunct="1"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  <a:defRPr/>
            </a:pPr>
            <a:r>
              <a:rPr lang="en-US" sz="1200" b="1" dirty="0">
                <a:solidFill>
                  <a:srgbClr val="646464"/>
                </a:solidFill>
                <a:latin typeface="Arial"/>
                <a:ea typeface="+mn-ea"/>
              </a:rPr>
              <a:t>EY</a:t>
            </a:r>
            <a:r>
              <a:rPr lang="en-GB" sz="1200" dirty="0">
                <a:solidFill>
                  <a:srgbClr val="646464"/>
                </a:solidFill>
                <a:latin typeface="Arial"/>
                <a:ea typeface="+mn-ea"/>
              </a:rPr>
              <a:t> | Assurance | Tax | Transactions | Advisory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1400"/>
              </a:spcAft>
              <a:buSzPct val="75000"/>
              <a:defRPr/>
            </a:pPr>
            <a:r>
              <a:rPr lang="en-GB" sz="1200" dirty="0">
                <a:solidFill>
                  <a:srgbClr val="646464"/>
                </a:solidFill>
                <a:latin typeface="Arial"/>
                <a:ea typeface="+mn-ea"/>
              </a:rPr>
              <a:t>Ernst &amp; Young LLP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900" dirty="0">
                <a:solidFill>
                  <a:srgbClr val="646464"/>
                </a:solidFill>
                <a:latin typeface="Arial"/>
                <a:ea typeface="+mn-ea"/>
              </a:rPr>
              <a:t>© 2015 Ernst &amp; Young LLP. Published in the UK.</a:t>
            </a:r>
            <a:br>
              <a:rPr lang="en-GB" sz="900" dirty="0">
                <a:solidFill>
                  <a:srgbClr val="646464"/>
                </a:solidFill>
                <a:latin typeface="Arial"/>
                <a:ea typeface="+mn-ea"/>
              </a:rPr>
            </a:br>
            <a:r>
              <a:rPr lang="en-GB" sz="900" spc="-10" dirty="0">
                <a:solidFill>
                  <a:srgbClr val="646464"/>
                </a:solidFill>
                <a:latin typeface="Arial"/>
                <a:ea typeface="+mn-ea"/>
              </a:rPr>
              <a:t>All Rights Reserved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The UK firm Ernst &amp; Young LLP is a limited liability partnership registered in England and Wales</a:t>
            </a:r>
            <a:b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</a:b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with registered number OC300001 and is a member firm of Ernst &amp; Young Global Limited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800"/>
              </a:spcAft>
              <a:buSzPct val="75000"/>
              <a:defRPr/>
            </a:pPr>
            <a:r>
              <a:rPr lang="en-GB" sz="800" spc="-20" dirty="0">
                <a:solidFill>
                  <a:srgbClr val="646464"/>
                </a:solidFill>
                <a:latin typeface="Arial"/>
                <a:ea typeface="+mn-ea"/>
              </a:rPr>
              <a:t>Ernst &amp; Young LLP, 1 More London Place, London, SE1 2AF.</a:t>
            </a:r>
          </a:p>
          <a:p>
            <a:pPr marL="0" lvl="3" defTabSz="914239" eaLnBrk="1" fontAlgn="auto" hangingPunct="1">
              <a:spcBef>
                <a:spcPts val="0"/>
              </a:spcBef>
              <a:spcAft>
                <a:spcPts val="438"/>
              </a:spcAft>
              <a:buSzPct val="75000"/>
              <a:defRPr/>
            </a:pPr>
            <a:r>
              <a:rPr lang="en-GB" sz="1050" dirty="0">
                <a:solidFill>
                  <a:srgbClr val="646464"/>
                </a:solidFill>
                <a:latin typeface="Arial"/>
                <a:ea typeface="+mn-ea"/>
              </a:rPr>
              <a:t>ey.com</a:t>
            </a:r>
            <a:endParaRPr lang="en-GB" sz="900" dirty="0">
              <a:solidFill>
                <a:srgbClr val="646464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5135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381000"/>
            <a:ext cx="10363200" cy="9906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400" y="1524000"/>
            <a:ext cx="10363200" cy="49530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51849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" y="2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3"/>
            <a:ext cx="10363108" cy="914112"/>
          </a:xfrm>
        </p:spPr>
        <p:txBody>
          <a:bodyPr anchor="t"/>
          <a:lstStyle>
            <a:lvl1pPr>
              <a:defRPr sz="4429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6" y="2971225"/>
            <a:ext cx="10348623" cy="1751929"/>
          </a:xfrm>
        </p:spPr>
        <p:txBody>
          <a:bodyPr/>
          <a:lstStyle>
            <a:lvl1pPr marL="0" indent="0" eaLnBrk="0" hangingPunct="0">
              <a:buFontTx/>
              <a:buNone/>
              <a:defRPr sz="221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914446" y="5028336"/>
            <a:ext cx="5272346" cy="885452"/>
          </a:xfrm>
          <a:prstGeom prst="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2573429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412834725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38" y="4406462"/>
            <a:ext cx="10363109" cy="1361811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38" y="2906445"/>
            <a:ext cx="10363109" cy="1500008"/>
          </a:xfrm>
        </p:spPr>
        <p:txBody>
          <a:bodyPr anchor="b"/>
          <a:lstStyle>
            <a:lvl1pPr marL="0" indent="0">
              <a:buNone/>
              <a:defRPr sz="1786"/>
            </a:lvl1pPr>
            <a:lvl2pPr marL="400499" indent="0">
              <a:buNone/>
              <a:defRPr sz="1571"/>
            </a:lvl2pPr>
            <a:lvl3pPr marL="800998" indent="0">
              <a:buNone/>
              <a:defRPr sz="1429"/>
            </a:lvl3pPr>
            <a:lvl4pPr marL="1201497" indent="0">
              <a:buNone/>
              <a:defRPr sz="1214"/>
            </a:lvl4pPr>
            <a:lvl5pPr marL="1601995" indent="0">
              <a:buNone/>
              <a:defRPr sz="1214"/>
            </a:lvl5pPr>
            <a:lvl6pPr marL="2002495" indent="0">
              <a:buNone/>
              <a:defRPr sz="1214"/>
            </a:lvl6pPr>
            <a:lvl7pPr marL="2402992" indent="0">
              <a:buNone/>
              <a:defRPr sz="1214"/>
            </a:lvl7pPr>
            <a:lvl8pPr marL="2803490" indent="0">
              <a:buNone/>
              <a:defRPr sz="1214"/>
            </a:lvl8pPr>
            <a:lvl9pPr marL="3203987" indent="0">
              <a:buNone/>
              <a:defRPr sz="12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6338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36" y="1600785"/>
            <a:ext cx="539794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25" y="1600785"/>
            <a:ext cx="5399753" cy="4048005"/>
          </a:xfrm>
        </p:spPr>
        <p:txBody>
          <a:bodyPr/>
          <a:lstStyle>
            <a:lvl1pPr>
              <a:defRPr sz="1214"/>
            </a:lvl1pPr>
            <a:lvl2pPr>
              <a:defRPr sz="1214"/>
            </a:lvl2pPr>
            <a:lvl3pPr>
              <a:defRPr sz="1214"/>
            </a:lvl3pPr>
            <a:lvl4pPr>
              <a:defRPr sz="1214"/>
            </a:lvl4pPr>
            <a:lvl5pPr>
              <a:defRPr sz="1214"/>
            </a:lvl5pPr>
            <a:lvl6pPr>
              <a:defRPr sz="1571"/>
            </a:lvl6pPr>
            <a:lvl7pPr>
              <a:defRPr sz="1571"/>
            </a:lvl7pPr>
            <a:lvl8pPr>
              <a:defRPr sz="1571"/>
            </a:lvl8pPr>
            <a:lvl9pPr>
              <a:defRPr sz="1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1012171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5" y="1534566"/>
            <a:ext cx="5387077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5" y="2175164"/>
            <a:ext cx="5387077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7" y="1534566"/>
            <a:ext cx="5388889" cy="640599"/>
          </a:xfrm>
        </p:spPr>
        <p:txBody>
          <a:bodyPr anchor="b"/>
          <a:lstStyle>
            <a:lvl1pPr marL="0" indent="0">
              <a:buNone/>
              <a:defRPr sz="2071" b="1"/>
            </a:lvl1pPr>
            <a:lvl2pPr marL="400499" indent="0">
              <a:buNone/>
              <a:defRPr sz="1786" b="1"/>
            </a:lvl2pPr>
            <a:lvl3pPr marL="800998" indent="0">
              <a:buNone/>
              <a:defRPr sz="1571" b="1"/>
            </a:lvl3pPr>
            <a:lvl4pPr marL="1201497" indent="0">
              <a:buNone/>
              <a:defRPr sz="1429" b="1"/>
            </a:lvl4pPr>
            <a:lvl5pPr marL="1601995" indent="0">
              <a:buNone/>
              <a:defRPr sz="1429" b="1"/>
            </a:lvl5pPr>
            <a:lvl6pPr marL="2002495" indent="0">
              <a:buNone/>
              <a:defRPr sz="1429" b="1"/>
            </a:lvl6pPr>
            <a:lvl7pPr marL="2402992" indent="0">
              <a:buNone/>
              <a:defRPr sz="1429" b="1"/>
            </a:lvl7pPr>
            <a:lvl8pPr marL="2803490" indent="0">
              <a:buNone/>
              <a:defRPr sz="1429" b="1"/>
            </a:lvl8pPr>
            <a:lvl9pPr marL="3203987" indent="0">
              <a:buNone/>
              <a:defRPr sz="142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7" y="2175164"/>
            <a:ext cx="5388889" cy="3951555"/>
          </a:xfrm>
        </p:spPr>
        <p:txBody>
          <a:bodyPr/>
          <a:lstStyle>
            <a:lvl1pPr>
              <a:defRPr sz="2071"/>
            </a:lvl1pPr>
            <a:lvl2pPr>
              <a:defRPr sz="1786"/>
            </a:lvl2pPr>
            <a:lvl3pPr>
              <a:defRPr sz="1571"/>
            </a:lvl3pPr>
            <a:lvl4pPr>
              <a:defRPr sz="1429"/>
            </a:lvl4pPr>
            <a:lvl5pPr>
              <a:defRPr sz="1429"/>
            </a:lvl5pPr>
            <a:lvl6pPr>
              <a:defRPr sz="1429"/>
            </a:lvl6pPr>
            <a:lvl7pPr>
              <a:defRPr sz="1429"/>
            </a:lvl7pPr>
            <a:lvl8pPr>
              <a:defRPr sz="1429"/>
            </a:lvl8pPr>
            <a:lvl9pPr>
              <a:defRPr sz="142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69144615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0360244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7194309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19"/>
            <a:ext cx="4010883" cy="1161715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92" y="273515"/>
            <a:ext cx="6815785" cy="5853196"/>
          </a:xfrm>
        </p:spPr>
        <p:txBody>
          <a:bodyPr/>
          <a:lstStyle>
            <a:lvl1pPr>
              <a:defRPr sz="2786"/>
            </a:lvl1pPr>
            <a:lvl2pPr>
              <a:defRPr sz="2500"/>
            </a:lvl2pPr>
            <a:lvl3pPr>
              <a:defRPr sz="2071"/>
            </a:lvl3pPr>
            <a:lvl4pPr>
              <a:defRPr sz="1786"/>
            </a:lvl4pPr>
            <a:lvl5pPr>
              <a:defRPr sz="1786"/>
            </a:lvl5pPr>
            <a:lvl6pPr>
              <a:defRPr sz="1786"/>
            </a:lvl6pPr>
            <a:lvl7pPr>
              <a:defRPr sz="1786"/>
            </a:lvl7pPr>
            <a:lvl8pPr>
              <a:defRPr sz="1786"/>
            </a:lvl8pPr>
            <a:lvl9pPr>
              <a:defRPr sz="17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28"/>
            <a:ext cx="4010883" cy="4691482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06008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840157BC-9FCB-41A1-ACF3-DDDDEE1C0B8D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768968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5" y="4800898"/>
            <a:ext cx="7315561" cy="565741"/>
          </a:xfrm>
        </p:spPr>
        <p:txBody>
          <a:bodyPr anchor="b"/>
          <a:lstStyle>
            <a:lvl1pPr algn="l">
              <a:defRPr sz="1786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5" y="613247"/>
            <a:ext cx="7315561" cy="4114224"/>
          </a:xfrm>
        </p:spPr>
        <p:txBody>
          <a:bodyPr/>
          <a:lstStyle>
            <a:lvl1pPr marL="0" indent="0">
              <a:buNone/>
              <a:defRPr sz="2786"/>
            </a:lvl1pPr>
            <a:lvl2pPr marL="400499" indent="0">
              <a:buNone/>
              <a:defRPr sz="2500"/>
            </a:lvl2pPr>
            <a:lvl3pPr marL="800998" indent="0">
              <a:buNone/>
              <a:defRPr sz="2071"/>
            </a:lvl3pPr>
            <a:lvl4pPr marL="1201497" indent="0">
              <a:buNone/>
              <a:defRPr sz="1786"/>
            </a:lvl4pPr>
            <a:lvl5pPr marL="1601995" indent="0">
              <a:buNone/>
              <a:defRPr sz="1786"/>
            </a:lvl5pPr>
            <a:lvl6pPr marL="2002495" indent="0">
              <a:buNone/>
              <a:defRPr sz="1786"/>
            </a:lvl6pPr>
            <a:lvl7pPr marL="2402992" indent="0">
              <a:buNone/>
              <a:defRPr sz="1786"/>
            </a:lvl7pPr>
            <a:lvl8pPr marL="2803490" indent="0">
              <a:buNone/>
              <a:defRPr sz="1786"/>
            </a:lvl8pPr>
            <a:lvl9pPr marL="3203987" indent="0">
              <a:buNone/>
              <a:defRPr sz="1786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5" y="5366630"/>
            <a:ext cx="7315561" cy="806146"/>
          </a:xfrm>
        </p:spPr>
        <p:txBody>
          <a:bodyPr/>
          <a:lstStyle>
            <a:lvl1pPr marL="0" indent="0">
              <a:buNone/>
              <a:defRPr sz="1214"/>
            </a:lvl1pPr>
            <a:lvl2pPr marL="400499" indent="0">
              <a:buNone/>
              <a:defRPr sz="1071"/>
            </a:lvl2pPr>
            <a:lvl3pPr marL="800998" indent="0">
              <a:buNone/>
              <a:defRPr sz="929"/>
            </a:lvl3pPr>
            <a:lvl4pPr marL="1201497" indent="0">
              <a:buNone/>
              <a:defRPr sz="786"/>
            </a:lvl4pPr>
            <a:lvl5pPr marL="1601995" indent="0">
              <a:buNone/>
              <a:defRPr sz="786"/>
            </a:lvl5pPr>
            <a:lvl6pPr marL="2002495" indent="0">
              <a:buNone/>
              <a:defRPr sz="786"/>
            </a:lvl6pPr>
            <a:lvl7pPr marL="2402992" indent="0">
              <a:buNone/>
              <a:defRPr sz="786"/>
            </a:lvl7pPr>
            <a:lvl8pPr marL="2803490" indent="0">
              <a:buNone/>
              <a:defRPr sz="786"/>
            </a:lvl8pPr>
            <a:lvl9pPr marL="3203987" indent="0">
              <a:buNone/>
              <a:defRPr sz="78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0363618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65281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2" y="274955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6" y="274955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65187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3214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19" y="1078312"/>
            <a:ext cx="11157084" cy="4179888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10427850" y="40999"/>
            <a:ext cx="1730749" cy="517236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8632435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1755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853547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7" y="2057116"/>
            <a:ext cx="10363108" cy="914111"/>
          </a:xfrm>
        </p:spPr>
        <p:txBody>
          <a:bodyPr anchor="t"/>
          <a:lstStyle>
            <a:lvl1pPr>
              <a:defRPr sz="4148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3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2074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618771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60035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3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791"/>
            </a:lvl1pPr>
            <a:lvl2pPr marL="375589" indent="0">
              <a:buNone/>
              <a:defRPr sz="1508"/>
            </a:lvl2pPr>
            <a:lvl3pPr marL="751206" indent="0">
              <a:buNone/>
              <a:defRPr sz="1320"/>
            </a:lvl3pPr>
            <a:lvl4pPr marL="1126811" indent="0">
              <a:buNone/>
              <a:defRPr sz="1131"/>
            </a:lvl4pPr>
            <a:lvl5pPr marL="1502416" indent="0">
              <a:buNone/>
              <a:defRPr sz="1131"/>
            </a:lvl5pPr>
            <a:lvl6pPr marL="1878024" indent="0">
              <a:buNone/>
              <a:defRPr sz="1131"/>
            </a:lvl6pPr>
            <a:lvl7pPr marL="2253628" indent="0">
              <a:buNone/>
              <a:defRPr sz="1131"/>
            </a:lvl7pPr>
            <a:lvl8pPr marL="2629237" indent="0">
              <a:buNone/>
              <a:defRPr sz="1131"/>
            </a:lvl8pPr>
            <a:lvl9pPr marL="3004842" indent="0">
              <a:buNone/>
              <a:defRPr sz="113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54607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3"/>
            <a:ext cx="539794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3"/>
            <a:ext cx="5399753" cy="4048005"/>
          </a:xfrm>
        </p:spPr>
        <p:txBody>
          <a:bodyPr/>
          <a:lstStyle>
            <a:lvl1pPr>
              <a:defRPr sz="1131"/>
            </a:lvl1pPr>
            <a:lvl2pPr>
              <a:defRPr sz="1131"/>
            </a:lvl2pPr>
            <a:lvl3pPr>
              <a:defRPr sz="1131"/>
            </a:lvl3pPr>
            <a:lvl4pPr>
              <a:defRPr sz="1131"/>
            </a:lvl4pPr>
            <a:lvl5pPr>
              <a:defRPr sz="1131"/>
            </a:lvl5pPr>
            <a:lvl6pPr>
              <a:defRPr sz="1508"/>
            </a:lvl6pPr>
            <a:lvl7pPr>
              <a:defRPr sz="1508"/>
            </a:lvl7pPr>
            <a:lvl8pPr>
              <a:defRPr sz="1508"/>
            </a:lvl8pPr>
            <a:lvl9pPr>
              <a:defRPr sz="15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82540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39" y="1534560"/>
            <a:ext cx="538707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39" y="2175207"/>
            <a:ext cx="538707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78" y="1534560"/>
            <a:ext cx="5388889" cy="640599"/>
          </a:xfrm>
        </p:spPr>
        <p:txBody>
          <a:bodyPr anchor="b"/>
          <a:lstStyle>
            <a:lvl1pPr marL="0" indent="0">
              <a:buNone/>
              <a:defRPr sz="1980" b="1"/>
            </a:lvl1pPr>
            <a:lvl2pPr marL="375589" indent="0">
              <a:buNone/>
              <a:defRPr sz="1791" b="1"/>
            </a:lvl2pPr>
            <a:lvl3pPr marL="751206" indent="0">
              <a:buNone/>
              <a:defRPr sz="1508" b="1"/>
            </a:lvl3pPr>
            <a:lvl4pPr marL="1126811" indent="0">
              <a:buNone/>
              <a:defRPr sz="1320" b="1"/>
            </a:lvl4pPr>
            <a:lvl5pPr marL="1502416" indent="0">
              <a:buNone/>
              <a:defRPr sz="1320" b="1"/>
            </a:lvl5pPr>
            <a:lvl6pPr marL="1878024" indent="0">
              <a:buNone/>
              <a:defRPr sz="1320" b="1"/>
            </a:lvl6pPr>
            <a:lvl7pPr marL="2253628" indent="0">
              <a:buNone/>
              <a:defRPr sz="1320" b="1"/>
            </a:lvl7pPr>
            <a:lvl8pPr marL="2629237" indent="0">
              <a:buNone/>
              <a:defRPr sz="1320" b="1"/>
            </a:lvl8pPr>
            <a:lvl9pPr marL="3004842" indent="0">
              <a:buNone/>
              <a:defRPr sz="13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78" y="2175207"/>
            <a:ext cx="5388889" cy="3951555"/>
          </a:xfrm>
        </p:spPr>
        <p:txBody>
          <a:bodyPr/>
          <a:lstStyle>
            <a:lvl1pPr>
              <a:defRPr sz="1980"/>
            </a:lvl1pPr>
            <a:lvl2pPr>
              <a:defRPr sz="1791"/>
            </a:lvl2pPr>
            <a:lvl3pPr>
              <a:defRPr sz="1508"/>
            </a:lvl3pPr>
            <a:lvl4pPr>
              <a:defRPr sz="1320"/>
            </a:lvl4pPr>
            <a:lvl5pPr>
              <a:defRPr sz="1320"/>
            </a:lvl5pPr>
            <a:lvl6pPr>
              <a:defRPr sz="1320"/>
            </a:lvl6pPr>
            <a:lvl7pPr>
              <a:defRPr sz="1320"/>
            </a:lvl7pPr>
            <a:lvl8pPr>
              <a:defRPr sz="1320"/>
            </a:lvl8pPr>
            <a:lvl9pPr>
              <a:defRPr sz="13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524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6672676A-05E1-4021-90B8-9D82FBCADC7F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7900387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8637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91057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6" y="273516"/>
            <a:ext cx="6815785" cy="5853196"/>
          </a:xfrm>
        </p:spPr>
        <p:txBody>
          <a:bodyPr/>
          <a:lstStyle>
            <a:lvl1pPr>
              <a:defRPr sz="2640"/>
            </a:lvl1pPr>
            <a:lvl2pPr>
              <a:defRPr sz="2452"/>
            </a:lvl2pPr>
            <a:lvl3pPr>
              <a:defRPr sz="1980"/>
            </a:lvl3pPr>
            <a:lvl4pPr>
              <a:defRPr sz="1791"/>
            </a:lvl4pPr>
            <a:lvl5pPr>
              <a:defRPr sz="1791"/>
            </a:lvl5pPr>
            <a:lvl6pPr>
              <a:defRPr sz="1791"/>
            </a:lvl6pPr>
            <a:lvl7pPr>
              <a:defRPr sz="1791"/>
            </a:lvl7pPr>
            <a:lvl8pPr>
              <a:defRPr sz="1791"/>
            </a:lvl8pPr>
            <a:lvl9pPr>
              <a:defRPr sz="17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22067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010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38634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2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2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046602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923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5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2118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48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5" y="6245225"/>
            <a:ext cx="2844801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5" y="6245225"/>
            <a:ext cx="3860800" cy="476250"/>
          </a:xfrm>
          <a:prstGeom prst="rect">
            <a:avLst/>
          </a:prstGeom>
          <a:ln/>
        </p:spPr>
        <p:txBody>
          <a:bodyPr lIns="90881" tIns="45434" rIns="90881" bIns="45434"/>
          <a:lstStyle>
            <a:lvl1pPr>
              <a:defRPr/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791" dirty="0">
              <a:solidFill>
                <a:prstClr val="black"/>
              </a:solidFill>
              <a:latin typeface="Arial"/>
              <a:ea typeface="ＭＳ Ｐゴシック" pitchFamily="34" charset="-128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30B953-DB9E-429E-A914-90D8BCF42545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4313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43" name="Picture 4" descr="Template landscape shadow_5_Page_4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" y="4"/>
            <a:ext cx="12191999" cy="6894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07209" y="2057116"/>
            <a:ext cx="10363108" cy="914111"/>
          </a:xfrm>
        </p:spPr>
        <p:txBody>
          <a:bodyPr anchor="t"/>
          <a:lstStyle>
            <a:lvl1pPr>
              <a:defRPr sz="3910">
                <a:solidFill>
                  <a:srgbClr val="70147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14448" y="2971234"/>
            <a:ext cx="10348621" cy="1751929"/>
          </a:xfrm>
        </p:spPr>
        <p:txBody>
          <a:bodyPr/>
          <a:lstStyle>
            <a:lvl1pPr marL="0" indent="0" eaLnBrk="0" hangingPunct="0">
              <a:buFontTx/>
              <a:buNone/>
              <a:defRPr sz="1956" b="1" i="1">
                <a:solidFill>
                  <a:srgbClr val="701471"/>
                </a:solidFill>
                <a:ea typeface="ＭＳ Ｐゴシック" pitchFamily="34" charset="-128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1112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Content Placeholder 4"/>
          <p:cNvSpPr>
            <a:spLocks noGrp="1" noChangeArrowheads="1"/>
          </p:cNvSpPr>
          <p:nvPr>
            <p:ph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80" tIns="39840" rIns="79680" bIns="398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1198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Template landscape shadow_5_Page_5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1" y="4800938"/>
            <a:ext cx="7315561" cy="565741"/>
          </a:xfrm>
        </p:spPr>
        <p:txBody>
          <a:bodyPr anchor="b"/>
          <a:lstStyle>
            <a:lvl1pPr algn="l">
              <a:defRPr sz="1791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1" y="613247"/>
            <a:ext cx="7315561" cy="4114224"/>
          </a:xfrm>
        </p:spPr>
        <p:txBody>
          <a:bodyPr/>
          <a:lstStyle>
            <a:lvl1pPr marL="0" indent="0">
              <a:buNone/>
              <a:defRPr sz="2640"/>
            </a:lvl1pPr>
            <a:lvl2pPr marL="375589" indent="0">
              <a:buNone/>
              <a:defRPr sz="2452"/>
            </a:lvl2pPr>
            <a:lvl3pPr marL="751206" indent="0">
              <a:buNone/>
              <a:defRPr sz="1980"/>
            </a:lvl3pPr>
            <a:lvl4pPr marL="1126811" indent="0">
              <a:buNone/>
              <a:defRPr sz="1791"/>
            </a:lvl4pPr>
            <a:lvl5pPr marL="1502416" indent="0">
              <a:buNone/>
              <a:defRPr sz="1791"/>
            </a:lvl5pPr>
            <a:lvl6pPr marL="1878024" indent="0">
              <a:buNone/>
              <a:defRPr sz="1791"/>
            </a:lvl6pPr>
            <a:lvl7pPr marL="2253628" indent="0">
              <a:buNone/>
              <a:defRPr sz="1791"/>
            </a:lvl7pPr>
            <a:lvl8pPr marL="2629237" indent="0">
              <a:buNone/>
              <a:defRPr sz="1791"/>
            </a:lvl8pPr>
            <a:lvl9pPr marL="3004842" indent="0">
              <a:buNone/>
              <a:defRPr sz="1791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1" y="5366631"/>
            <a:ext cx="7315561" cy="806146"/>
          </a:xfrm>
        </p:spPr>
        <p:txBody>
          <a:bodyPr/>
          <a:lstStyle>
            <a:lvl1pPr marL="0" indent="0">
              <a:buNone/>
              <a:defRPr sz="1131"/>
            </a:lvl1pPr>
            <a:lvl2pPr marL="375589" indent="0">
              <a:buNone/>
              <a:defRPr sz="1037"/>
            </a:lvl2pPr>
            <a:lvl3pPr marL="751206" indent="0">
              <a:buNone/>
              <a:defRPr sz="848"/>
            </a:lvl3pPr>
            <a:lvl4pPr marL="1126811" indent="0">
              <a:buNone/>
              <a:defRPr sz="754"/>
            </a:lvl4pPr>
            <a:lvl5pPr marL="1502416" indent="0">
              <a:buNone/>
              <a:defRPr sz="754"/>
            </a:lvl5pPr>
            <a:lvl6pPr marL="1878024" indent="0">
              <a:buNone/>
              <a:defRPr sz="754"/>
            </a:lvl6pPr>
            <a:lvl7pPr marL="2253628" indent="0">
              <a:buNone/>
              <a:defRPr sz="754"/>
            </a:lvl7pPr>
            <a:lvl8pPr marL="2629237" indent="0">
              <a:buNone/>
              <a:defRPr sz="754"/>
            </a:lvl8pPr>
            <a:lvl9pPr marL="3004842" indent="0">
              <a:buNone/>
              <a:defRPr sz="75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defTabSz="914400" eaLnBrk="0" fontAlgn="base" hangingPunct="0">
              <a:spcBef>
                <a:spcPct val="0"/>
              </a:spcBef>
              <a:spcAft>
                <a:spcPct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D2E045CB-C504-44A0-BEFF-7EA220CE832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8641573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40" y="4406503"/>
            <a:ext cx="10363109" cy="1361811"/>
          </a:xfrm>
        </p:spPr>
        <p:txBody>
          <a:bodyPr anchor="t"/>
          <a:lstStyle>
            <a:lvl1pPr algn="l">
              <a:defRPr sz="3111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40" y="2906445"/>
            <a:ext cx="10363109" cy="1500008"/>
          </a:xfrm>
        </p:spPr>
        <p:txBody>
          <a:bodyPr anchor="b"/>
          <a:lstStyle>
            <a:lvl1pPr marL="0" indent="0">
              <a:buNone/>
              <a:defRPr sz="1689"/>
            </a:lvl1pPr>
            <a:lvl2pPr marL="354086" indent="0">
              <a:buNone/>
              <a:defRPr sz="1422"/>
            </a:lvl2pPr>
            <a:lvl3pPr marL="708198" indent="0">
              <a:buNone/>
              <a:defRPr sz="1244"/>
            </a:lvl3pPr>
            <a:lvl4pPr marL="1062298" indent="0">
              <a:buNone/>
              <a:defRPr sz="1066"/>
            </a:lvl4pPr>
            <a:lvl5pPr marL="1416400" indent="0">
              <a:buNone/>
              <a:defRPr sz="1066"/>
            </a:lvl5pPr>
            <a:lvl6pPr marL="1770503" indent="0">
              <a:buNone/>
              <a:defRPr sz="1066"/>
            </a:lvl6pPr>
            <a:lvl7pPr marL="2124603" indent="0">
              <a:buNone/>
              <a:defRPr sz="1066"/>
            </a:lvl7pPr>
            <a:lvl8pPr marL="2478707" indent="0">
              <a:buNone/>
              <a:defRPr sz="1066"/>
            </a:lvl8pPr>
            <a:lvl9pPr marL="2832808" indent="0">
              <a:buNone/>
              <a:defRPr sz="106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69347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0299" y="1600784"/>
            <a:ext cx="5397943" cy="4048005"/>
          </a:xfrm>
        </p:spPr>
        <p:txBody>
          <a:bodyPr/>
          <a:lstStyle>
            <a:lvl1pPr>
              <a:defRPr sz="1066"/>
            </a:lvl1pPr>
            <a:lvl2pPr>
              <a:defRPr sz="1066"/>
            </a:lvl2pPr>
            <a:lvl3pPr>
              <a:defRPr sz="1066"/>
            </a:lvl3pPr>
            <a:lvl4pPr>
              <a:defRPr sz="1066"/>
            </a:lvl4pPr>
            <a:lvl5pPr>
              <a:defRPr sz="1066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2078" y="1600784"/>
            <a:ext cx="5399753" cy="4048005"/>
          </a:xfrm>
        </p:spPr>
        <p:txBody>
          <a:bodyPr/>
          <a:lstStyle>
            <a:lvl1pPr>
              <a:defRPr sz="1066"/>
            </a:lvl1pPr>
            <a:lvl2pPr>
              <a:defRPr sz="1066"/>
            </a:lvl2pPr>
            <a:lvl3pPr>
              <a:defRPr sz="1066"/>
            </a:lvl3pPr>
            <a:lvl4pPr>
              <a:defRPr sz="1066"/>
            </a:lvl4pPr>
            <a:lvl5pPr>
              <a:defRPr sz="1066"/>
            </a:lvl5pPr>
            <a:lvl6pPr>
              <a:defRPr sz="1422"/>
            </a:lvl6pPr>
            <a:lvl7pPr>
              <a:defRPr sz="1422"/>
            </a:lvl7pPr>
            <a:lvl8pPr>
              <a:defRPr sz="1422"/>
            </a:lvl8pPr>
            <a:lvl9pPr>
              <a:defRPr sz="142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61140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241" y="1534560"/>
            <a:ext cx="5387079" cy="640599"/>
          </a:xfrm>
        </p:spPr>
        <p:txBody>
          <a:bodyPr anchor="b"/>
          <a:lstStyle>
            <a:lvl1pPr marL="0" indent="0">
              <a:buNone/>
              <a:defRPr sz="1867" b="1"/>
            </a:lvl1pPr>
            <a:lvl2pPr marL="354086" indent="0">
              <a:buNone/>
              <a:defRPr sz="1689" b="1"/>
            </a:lvl2pPr>
            <a:lvl3pPr marL="708198" indent="0">
              <a:buNone/>
              <a:defRPr sz="1422" b="1"/>
            </a:lvl3pPr>
            <a:lvl4pPr marL="1062298" indent="0">
              <a:buNone/>
              <a:defRPr sz="1244" b="1"/>
            </a:lvl4pPr>
            <a:lvl5pPr marL="1416400" indent="0">
              <a:buNone/>
              <a:defRPr sz="1244" b="1"/>
            </a:lvl5pPr>
            <a:lvl6pPr marL="1770503" indent="0">
              <a:buNone/>
              <a:defRPr sz="1244" b="1"/>
            </a:lvl6pPr>
            <a:lvl7pPr marL="2124603" indent="0">
              <a:buNone/>
              <a:defRPr sz="1244" b="1"/>
            </a:lvl7pPr>
            <a:lvl8pPr marL="2478707" indent="0">
              <a:buNone/>
              <a:defRPr sz="1244" b="1"/>
            </a:lvl8pPr>
            <a:lvl9pPr marL="2832808" indent="0">
              <a:buNone/>
              <a:defRPr sz="12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0241" y="2175208"/>
            <a:ext cx="5387079" cy="3951555"/>
          </a:xfrm>
        </p:spPr>
        <p:txBody>
          <a:bodyPr/>
          <a:lstStyle>
            <a:lvl1pPr>
              <a:defRPr sz="1867"/>
            </a:lvl1pPr>
            <a:lvl2pPr>
              <a:defRPr sz="1689"/>
            </a:lvl2pPr>
            <a:lvl3pPr>
              <a:defRPr sz="1422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80" y="1534560"/>
            <a:ext cx="5388889" cy="640599"/>
          </a:xfrm>
        </p:spPr>
        <p:txBody>
          <a:bodyPr anchor="b"/>
          <a:lstStyle>
            <a:lvl1pPr marL="0" indent="0">
              <a:buNone/>
              <a:defRPr sz="1867" b="1"/>
            </a:lvl1pPr>
            <a:lvl2pPr marL="354086" indent="0">
              <a:buNone/>
              <a:defRPr sz="1689" b="1"/>
            </a:lvl2pPr>
            <a:lvl3pPr marL="708198" indent="0">
              <a:buNone/>
              <a:defRPr sz="1422" b="1"/>
            </a:lvl3pPr>
            <a:lvl4pPr marL="1062298" indent="0">
              <a:buNone/>
              <a:defRPr sz="1244" b="1"/>
            </a:lvl4pPr>
            <a:lvl5pPr marL="1416400" indent="0">
              <a:buNone/>
              <a:defRPr sz="1244" b="1"/>
            </a:lvl5pPr>
            <a:lvl6pPr marL="1770503" indent="0">
              <a:buNone/>
              <a:defRPr sz="1244" b="1"/>
            </a:lvl6pPr>
            <a:lvl7pPr marL="2124603" indent="0">
              <a:buNone/>
              <a:defRPr sz="1244" b="1"/>
            </a:lvl7pPr>
            <a:lvl8pPr marL="2478707" indent="0">
              <a:buNone/>
              <a:defRPr sz="1244" b="1"/>
            </a:lvl8pPr>
            <a:lvl9pPr marL="2832808" indent="0">
              <a:buNone/>
              <a:defRPr sz="124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80" y="2175208"/>
            <a:ext cx="5388889" cy="3951555"/>
          </a:xfrm>
        </p:spPr>
        <p:txBody>
          <a:bodyPr/>
          <a:lstStyle>
            <a:lvl1pPr>
              <a:defRPr sz="1867"/>
            </a:lvl1pPr>
            <a:lvl2pPr>
              <a:defRPr sz="1689"/>
            </a:lvl2pPr>
            <a:lvl3pPr>
              <a:defRPr sz="1422"/>
            </a:lvl3pPr>
            <a:lvl4pPr>
              <a:defRPr sz="1244"/>
            </a:lvl4pPr>
            <a:lvl5pPr>
              <a:defRPr sz="1244"/>
            </a:lvl5pPr>
            <a:lvl6pPr>
              <a:defRPr sz="1244"/>
            </a:lvl6pPr>
            <a:lvl7pPr>
              <a:defRPr sz="1244"/>
            </a:lvl7pPr>
            <a:lvl8pPr>
              <a:defRPr sz="1244"/>
            </a:lvl8pPr>
            <a:lvl9pPr>
              <a:defRPr sz="124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4107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903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211246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35" y="273561"/>
            <a:ext cx="4010883" cy="1161714"/>
          </a:xfrm>
        </p:spPr>
        <p:txBody>
          <a:bodyPr anchor="b"/>
          <a:lstStyle>
            <a:lvl1pPr algn="l">
              <a:defRPr sz="1689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988" y="273516"/>
            <a:ext cx="6815785" cy="5853196"/>
          </a:xfrm>
        </p:spPr>
        <p:txBody>
          <a:bodyPr/>
          <a:lstStyle>
            <a:lvl1pPr>
              <a:defRPr sz="2489"/>
            </a:lvl1pPr>
            <a:lvl2pPr>
              <a:defRPr sz="2311"/>
            </a:lvl2pPr>
            <a:lvl3pPr>
              <a:defRPr sz="1867"/>
            </a:lvl3pPr>
            <a:lvl4pPr>
              <a:defRPr sz="1689"/>
            </a:lvl4pPr>
            <a:lvl5pPr>
              <a:defRPr sz="1689"/>
            </a:lvl5pPr>
            <a:lvl6pPr>
              <a:defRPr sz="1689"/>
            </a:lvl6pPr>
            <a:lvl7pPr>
              <a:defRPr sz="1689"/>
            </a:lvl7pPr>
            <a:lvl8pPr>
              <a:defRPr sz="1689"/>
            </a:lvl8pPr>
            <a:lvl9pPr>
              <a:defRPr sz="168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235" y="1435230"/>
            <a:ext cx="4010883" cy="4691482"/>
          </a:xfrm>
        </p:spPr>
        <p:txBody>
          <a:bodyPr/>
          <a:lstStyle>
            <a:lvl1pPr marL="0" indent="0">
              <a:buNone/>
              <a:defRPr sz="1066"/>
            </a:lvl1pPr>
            <a:lvl2pPr marL="354086" indent="0">
              <a:buNone/>
              <a:defRPr sz="977"/>
            </a:lvl2pPr>
            <a:lvl3pPr marL="708198" indent="0">
              <a:buNone/>
              <a:defRPr sz="800"/>
            </a:lvl3pPr>
            <a:lvl4pPr marL="1062298" indent="0">
              <a:buNone/>
              <a:defRPr sz="711"/>
            </a:lvl4pPr>
            <a:lvl5pPr marL="1416400" indent="0">
              <a:buNone/>
              <a:defRPr sz="711"/>
            </a:lvl5pPr>
            <a:lvl6pPr marL="1770503" indent="0">
              <a:buNone/>
              <a:defRPr sz="711"/>
            </a:lvl6pPr>
            <a:lvl7pPr marL="2124603" indent="0">
              <a:buNone/>
              <a:defRPr sz="711"/>
            </a:lvl7pPr>
            <a:lvl8pPr marL="2478707" indent="0">
              <a:buNone/>
              <a:defRPr sz="711"/>
            </a:lvl8pPr>
            <a:lvl9pPr marL="2832808" indent="0">
              <a:buNone/>
              <a:defRPr sz="7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857256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242" y="4800938"/>
            <a:ext cx="7315561" cy="565741"/>
          </a:xfrm>
        </p:spPr>
        <p:txBody>
          <a:bodyPr anchor="b"/>
          <a:lstStyle>
            <a:lvl1pPr algn="l">
              <a:defRPr sz="1689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242" y="613247"/>
            <a:ext cx="7315561" cy="4114224"/>
          </a:xfrm>
        </p:spPr>
        <p:txBody>
          <a:bodyPr/>
          <a:lstStyle>
            <a:lvl1pPr marL="0" indent="0">
              <a:buNone/>
              <a:defRPr sz="2489"/>
            </a:lvl1pPr>
            <a:lvl2pPr marL="354086" indent="0">
              <a:buNone/>
              <a:defRPr sz="2311"/>
            </a:lvl2pPr>
            <a:lvl3pPr marL="708198" indent="0">
              <a:buNone/>
              <a:defRPr sz="1867"/>
            </a:lvl3pPr>
            <a:lvl4pPr marL="1062298" indent="0">
              <a:buNone/>
              <a:defRPr sz="1689"/>
            </a:lvl4pPr>
            <a:lvl5pPr marL="1416400" indent="0">
              <a:buNone/>
              <a:defRPr sz="1689"/>
            </a:lvl5pPr>
            <a:lvl6pPr marL="1770503" indent="0">
              <a:buNone/>
              <a:defRPr sz="1689"/>
            </a:lvl6pPr>
            <a:lvl7pPr marL="2124603" indent="0">
              <a:buNone/>
              <a:defRPr sz="1689"/>
            </a:lvl7pPr>
            <a:lvl8pPr marL="2478707" indent="0">
              <a:buNone/>
              <a:defRPr sz="1689"/>
            </a:lvl8pPr>
            <a:lvl9pPr marL="2832808" indent="0">
              <a:buNone/>
              <a:defRPr sz="1689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242" y="5366632"/>
            <a:ext cx="7315561" cy="806146"/>
          </a:xfrm>
        </p:spPr>
        <p:txBody>
          <a:bodyPr/>
          <a:lstStyle>
            <a:lvl1pPr marL="0" indent="0">
              <a:buNone/>
              <a:defRPr sz="1066"/>
            </a:lvl1pPr>
            <a:lvl2pPr marL="354086" indent="0">
              <a:buNone/>
              <a:defRPr sz="977"/>
            </a:lvl2pPr>
            <a:lvl3pPr marL="708198" indent="0">
              <a:buNone/>
              <a:defRPr sz="800"/>
            </a:lvl3pPr>
            <a:lvl4pPr marL="1062298" indent="0">
              <a:buNone/>
              <a:defRPr sz="711"/>
            </a:lvl4pPr>
            <a:lvl5pPr marL="1416400" indent="0">
              <a:buNone/>
              <a:defRPr sz="711"/>
            </a:lvl5pPr>
            <a:lvl6pPr marL="1770503" indent="0">
              <a:buNone/>
              <a:defRPr sz="711"/>
            </a:lvl6pPr>
            <a:lvl7pPr marL="2124603" indent="0">
              <a:buNone/>
              <a:defRPr sz="711"/>
            </a:lvl7pPr>
            <a:lvl8pPr marL="2478707" indent="0">
              <a:buNone/>
              <a:defRPr sz="711"/>
            </a:lvl8pPr>
            <a:lvl9pPr marL="2832808" indent="0">
              <a:buNone/>
              <a:defRPr sz="71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55394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892716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0246" y="275003"/>
            <a:ext cx="2741525" cy="537382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0241" y="275003"/>
            <a:ext cx="8056172" cy="537382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0384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-97034"/>
            <a:ext cx="11181144" cy="1143000"/>
          </a:xfrm>
          <a:prstGeom prst="rect">
            <a:avLst/>
          </a:prstGeom>
        </p:spPr>
        <p:txBody>
          <a:bodyPr/>
          <a:lstStyle>
            <a:lvl1pPr>
              <a:defRPr sz="2756"/>
            </a:lvl1pPr>
          </a:lstStyle>
          <a:p>
            <a:r>
              <a:rPr lang="en-US"/>
              <a:t>#. Click to edit Master title style</a:t>
            </a:r>
            <a:br>
              <a:rPr lang="en-US"/>
            </a:br>
            <a:endParaRPr lang="en-GB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17376" y="1078316"/>
            <a:ext cx="11157085" cy="4179889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8733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21" Type="http://schemas.openxmlformats.org/officeDocument/2006/relationships/vmlDrawing" Target="../drawings/vmlDrawing50.v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oleObject" Target="../embeddings/oleObject50.bin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tags" Target="../tags/tag5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16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16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30.xml"/><Relationship Id="rId16" Type="http://schemas.openxmlformats.org/officeDocument/2006/relationships/vmlDrawing" Target="../drawings/vmlDrawing3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19" Type="http://schemas.openxmlformats.org/officeDocument/2006/relationships/oleObject" Target="../embeddings/oleObject31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image" Target="../media/image4.wmf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oleObject" Target="../embeddings/oleObject46.bin"/><Relationship Id="rId2" Type="http://schemas.openxmlformats.org/officeDocument/2006/relationships/slideLayout" Target="../slideLayouts/slideLayout76.xml"/><Relationship Id="rId16" Type="http://schemas.openxmlformats.org/officeDocument/2006/relationships/tags" Target="../tags/tag4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vmlDrawing" Target="../drawings/vmlDrawing46.vml"/><Relationship Id="rId10" Type="http://schemas.openxmlformats.org/officeDocument/2006/relationships/slideLayout" Target="../slideLayouts/slideLayout84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oleObject" Target="../embeddings/oleObject47.bin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48.xml"/><Relationship Id="rId2" Type="http://schemas.openxmlformats.org/officeDocument/2006/relationships/slideLayout" Target="../slideLayouts/slideLayout89.xml"/><Relationship Id="rId16" Type="http://schemas.openxmlformats.org/officeDocument/2006/relationships/vmlDrawing" Target="../drawings/vmlDrawing47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oleObject" Target="../embeddings/oleObject48.bin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tags" Target="../tags/tag49.xml"/><Relationship Id="rId2" Type="http://schemas.openxmlformats.org/officeDocument/2006/relationships/slideLayout" Target="../slideLayouts/slideLayout103.xml"/><Relationship Id="rId16" Type="http://schemas.openxmlformats.org/officeDocument/2006/relationships/vmlDrawing" Target="../drawings/vmlDrawing48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1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oleObject" Target="../embeddings/oleObject49.bin"/><Relationship Id="rId2" Type="http://schemas.openxmlformats.org/officeDocument/2006/relationships/slideLayout" Target="../slideLayouts/slideLayout117.xml"/><Relationship Id="rId16" Type="http://schemas.openxmlformats.org/officeDocument/2006/relationships/tags" Target="../tags/tag50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vmlDrawing" Target="../drawings/vmlDrawing49.vml"/><Relationship Id="rId10" Type="http://schemas.openxmlformats.org/officeDocument/2006/relationships/slideLayout" Target="../slideLayouts/slideLayout125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7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102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DD077F9A-4074-4D40-9F91-027CB86E8258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99" r:id="rId1"/>
    <p:sldLayoutId id="2147484600" r:id="rId2"/>
    <p:sldLayoutId id="2147484601" r:id="rId3"/>
    <p:sldLayoutId id="2147484602" r:id="rId4"/>
    <p:sldLayoutId id="2147484603" r:id="rId5"/>
    <p:sldLayoutId id="2147484604" r:id="rId6"/>
    <p:sldLayoutId id="2147484605" r:id="rId7"/>
    <p:sldLayoutId id="2147484606" r:id="rId8"/>
    <p:sldLayoutId id="2147484607" r:id="rId9"/>
    <p:sldLayoutId id="2147484608" r:id="rId10"/>
    <p:sldLayoutId id="2147484609" r:id="rId11"/>
    <p:sldLayoutId id="2147484610" r:id="rId12"/>
    <p:sldLayoutId id="2147484611" r:id="rId13"/>
    <p:sldLayoutId id="2147484612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3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9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9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681755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681755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4728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4821" r:id="rId2"/>
    <p:sldLayoutId id="2147484822" r:id="rId3"/>
    <p:sldLayoutId id="2147484823" r:id="rId4"/>
    <p:sldLayoutId id="2147484824" r:id="rId5"/>
    <p:sldLayoutId id="2147484825" r:id="rId6"/>
    <p:sldLayoutId id="2147484826" r:id="rId7"/>
    <p:sldLayoutId id="2147484827" r:id="rId8"/>
    <p:sldLayoutId id="2147484828" r:id="rId9"/>
    <p:sldLayoutId id="2147484829" r:id="rId10"/>
    <p:sldLayoutId id="2147484830" r:id="rId11"/>
    <p:sldLayoutId id="2147484831" r:id="rId12"/>
    <p:sldLayoutId id="2147484832" r:id="rId13"/>
    <p:sldLayoutId id="2147484833" r:id="rId14"/>
    <p:sldLayoutId id="2147484834" r:id="rId15"/>
    <p:sldLayoutId id="2147484835" r:id="rId16"/>
    <p:sldLayoutId id="2147484836" r:id="rId17"/>
    <p:sldLayoutId id="2147484837" r:id="rId18"/>
    <p:sldLayoutId id="2147484838" r:id="rId19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29883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597695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89654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195392" algn="l" rtl="0" eaLnBrk="1" fontAlgn="base" hangingPunct="1">
        <a:spcBef>
          <a:spcPct val="0"/>
        </a:spcBef>
        <a:spcAft>
          <a:spcPct val="0"/>
        </a:spcAft>
        <a:defRPr sz="2325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24138" indent="-224138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485628" indent="-186782" algn="l" rtl="0" eaLnBrk="1" fontAlgn="base" hangingPunct="1">
        <a:spcBef>
          <a:spcPct val="20000"/>
        </a:spcBef>
        <a:spcAft>
          <a:spcPct val="0"/>
        </a:spcAft>
        <a:buChar char="–"/>
        <a:defRPr sz="1950">
          <a:solidFill>
            <a:schemeClr val="tx1"/>
          </a:solidFill>
          <a:latin typeface="+mn-lt"/>
        </a:defRPr>
      </a:lvl2pPr>
      <a:lvl3pPr marL="747122" indent="-149418" algn="l" rtl="0" eaLnBrk="1" fontAlgn="base" hangingPunct="1">
        <a:spcBef>
          <a:spcPct val="20000"/>
        </a:spcBef>
        <a:spcAft>
          <a:spcPct val="0"/>
        </a:spcAft>
        <a:buChar char="•"/>
        <a:defRPr sz="1575">
          <a:solidFill>
            <a:schemeClr val="tx1"/>
          </a:solidFill>
          <a:latin typeface="+mn-lt"/>
        </a:defRPr>
      </a:lvl3pPr>
      <a:lvl4pPr marL="1045973" indent="-149418" algn="l" rtl="0" eaLnBrk="1" fontAlgn="base" hangingPunct="1">
        <a:spcBef>
          <a:spcPct val="20000"/>
        </a:spcBef>
        <a:spcAft>
          <a:spcPct val="0"/>
        </a:spcAft>
        <a:buChar char="–"/>
        <a:defRPr sz="1425">
          <a:solidFill>
            <a:schemeClr val="tx1"/>
          </a:solidFill>
          <a:latin typeface="+mn-lt"/>
        </a:defRPr>
      </a:lvl4pPr>
      <a:lvl5pPr marL="13448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5pPr>
      <a:lvl6pPr marL="16436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6pPr>
      <a:lvl7pPr marL="1942518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7pPr>
      <a:lvl8pPr marL="2241369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8pPr>
      <a:lvl9pPr marL="2540213" indent="-149418" algn="l" rtl="0" eaLnBrk="1" fontAlgn="base" hangingPunct="1">
        <a:spcBef>
          <a:spcPct val="20000"/>
        </a:spcBef>
        <a:spcAft>
          <a:spcPct val="0"/>
        </a:spcAft>
        <a:buChar char="»"/>
        <a:defRPr sz="142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9883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97695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965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9539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494242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930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091941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390789" algn="l" defTabSz="59769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4" y="25639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214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913648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913648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1835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1" r:id="rId1"/>
    <p:sldLayoutId id="2147484842" r:id="rId2"/>
    <p:sldLayoutId id="2147484843" r:id="rId3"/>
    <p:sldLayoutId id="2147484844" r:id="rId4"/>
    <p:sldLayoutId id="2147484845" r:id="rId5"/>
    <p:sldLayoutId id="2147484846" r:id="rId6"/>
    <p:sldLayoutId id="2147484847" r:id="rId7"/>
    <p:sldLayoutId id="2147484848" r:id="rId8"/>
    <p:sldLayoutId id="2147484849" r:id="rId9"/>
    <p:sldLayoutId id="2147484850" r:id="rId10"/>
    <p:sldLayoutId id="2147484851" r:id="rId11"/>
    <p:sldLayoutId id="2147484852" r:id="rId12"/>
    <p:sldLayoutId id="2147484853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400499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00998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201497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601995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00374" indent="-300374" algn="l" rtl="0" fontAlgn="base">
        <a:spcBef>
          <a:spcPct val="20000"/>
        </a:spcBef>
        <a:spcAft>
          <a:spcPct val="0"/>
        </a:spcAft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0811" indent="-250312" algn="l" rtl="0" fontAlgn="base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</a:defRPr>
      </a:lvl2pPr>
      <a:lvl3pPr marL="1001248" indent="-200250" algn="l" rtl="0" fontAlgn="base">
        <a:spcBef>
          <a:spcPct val="20000"/>
        </a:spcBef>
        <a:spcAft>
          <a:spcPct val="0"/>
        </a:spcAft>
        <a:buChar char="•"/>
        <a:defRPr sz="2071">
          <a:solidFill>
            <a:schemeClr val="tx1"/>
          </a:solidFill>
          <a:latin typeface="+mn-lt"/>
        </a:defRPr>
      </a:lvl3pPr>
      <a:lvl4pPr marL="1401745" indent="-200250" algn="l" rtl="0" fontAlgn="base">
        <a:spcBef>
          <a:spcPct val="20000"/>
        </a:spcBef>
        <a:spcAft>
          <a:spcPct val="0"/>
        </a:spcAft>
        <a:buChar char="–"/>
        <a:defRPr sz="1786">
          <a:solidFill>
            <a:schemeClr val="tx1"/>
          </a:solidFill>
          <a:latin typeface="+mn-lt"/>
        </a:defRPr>
      </a:lvl4pPr>
      <a:lvl5pPr marL="1802243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5pPr>
      <a:lvl6pPr marL="2202740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6pPr>
      <a:lvl7pPr marL="2603242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7pPr>
      <a:lvl8pPr marL="3003744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8pPr>
      <a:lvl9pPr marL="3404239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00499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800998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20149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6019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0024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402992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280349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20398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51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5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2051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7A2141F6-2EC7-4B5B-BAE8-81788BE98E72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13" r:id="rId1"/>
    <p:sldLayoutId id="2147484614" r:id="rId2"/>
    <p:sldLayoutId id="2147484615" r:id="rId3"/>
    <p:sldLayoutId id="2147484616" r:id="rId4"/>
    <p:sldLayoutId id="2147484617" r:id="rId5"/>
    <p:sldLayoutId id="2147484618" r:id="rId6"/>
    <p:sldLayoutId id="2147484619" r:id="rId7"/>
    <p:sldLayoutId id="2147484620" r:id="rId8"/>
    <p:sldLayoutId id="2147484621" r:id="rId9"/>
    <p:sldLayoutId id="2147484622" r:id="rId10"/>
    <p:sldLayoutId id="2147484623" r:id="rId11"/>
    <p:sldLayoutId id="2147484624" r:id="rId12"/>
    <p:sldLayoutId id="2147484625" r:id="rId13"/>
    <p:sldLayoutId id="2147484626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Template landscape shadow_5_Page_5.jpg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80125"/>
            <a:ext cx="1219200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075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0987324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5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307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-31750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43001"/>
            <a:ext cx="10972800" cy="404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215967" y="6461125"/>
            <a:ext cx="2743200" cy="3635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891917" eaLnBrk="1" fontAlgn="auto" hangingPunct="1">
              <a:spcBef>
                <a:spcPts val="0"/>
              </a:spcBef>
              <a:spcAft>
                <a:spcPts val="0"/>
              </a:spcAft>
              <a:defRPr sz="1026" smtClean="0">
                <a:solidFill>
                  <a:srgbClr val="000000">
                    <a:tint val="75000"/>
                  </a:srgbClr>
                </a:solidFill>
                <a:latin typeface="Arial"/>
                <a:ea typeface="+mn-ea"/>
              </a:defRPr>
            </a:lvl1pPr>
          </a:lstStyle>
          <a:p>
            <a:pPr>
              <a:defRPr/>
            </a:pPr>
            <a:fld id="{3B7CB058-AD0B-4862-8406-1B115F04FA87}" type="slidenum">
              <a:rPr lang="en-IE"/>
              <a:pPr>
                <a:defRPr/>
              </a:pPr>
              <a:t>‹#›</a:t>
            </a:fld>
            <a:endParaRPr lang="en-I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  <p:sldLayoutId id="2147484638" r:id="rId12"/>
    <p:sldLayoutId id="2147484639" r:id="rId13"/>
    <p:sldLayoutId id="2147484640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84006F"/>
          </a:solidFill>
          <a:latin typeface="Arial" charset="0"/>
          <a:ea typeface="MS PGothic" panose="020B0600070205080204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0988" indent="-280988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09600" indent="-233363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2pPr>
      <a:lvl3pPr marL="938213" indent="-187325" algn="l" rtl="0" eaLnBrk="0" fontAlgn="base" hangingPunct="0">
        <a:spcBef>
          <a:spcPct val="20000"/>
        </a:spcBef>
        <a:spcAft>
          <a:spcPct val="0"/>
        </a:spcAft>
        <a:buChar char="•"/>
        <a:defRPr sz="1900">
          <a:solidFill>
            <a:schemeClr val="tx1"/>
          </a:solidFill>
          <a:latin typeface="+mn-lt"/>
        </a:defRPr>
      </a:lvl3pPr>
      <a:lvl4pPr marL="1314450" indent="-187325" algn="l" rtl="0" eaLnBrk="0" fontAlgn="base" hangingPunct="0">
        <a:spcBef>
          <a:spcPct val="2000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4pPr>
      <a:lvl5pPr marL="1689100" indent="-187325" algn="l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09600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1"/>
            <a:ext cx="10972800" cy="4698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0" y="6492240"/>
            <a:ext cx="4579200" cy="2011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646464"/>
                </a:solidFill>
                <a:ea typeface="+mn-ea"/>
              </a:rPr>
              <a:t>Demand led transformation of support services in Croyd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9600" y="6492240"/>
            <a:ext cx="960000" cy="20116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1100" dirty="0">
                <a:solidFill>
                  <a:srgbClr val="646464"/>
                </a:solidFill>
                <a:latin typeface="Arial"/>
                <a:ea typeface="+mn-ea"/>
              </a:rPr>
              <a:t>Page </a:t>
            </a:r>
            <a:fld id="{9AE4D82F-B047-469B-AC52-A46321747EAF}" type="slidenum">
              <a:rPr lang="en-GB" sz="1100" smtClean="0">
                <a:solidFill>
                  <a:srgbClr val="646464"/>
                </a:solidFill>
                <a:latin typeface="Arial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dirty="0">
              <a:solidFill>
                <a:srgbClr val="646464"/>
              </a:solidFill>
              <a:latin typeface="Arial"/>
              <a:ea typeface="+mn-ea"/>
            </a:endParaRPr>
          </a:p>
        </p:txBody>
      </p:sp>
      <p:sp>
        <p:nvSpPr>
          <p:cNvPr id="19" name="Date Placeholder 2"/>
          <p:cNvSpPr>
            <a:spLocks noGrp="1"/>
          </p:cNvSpPr>
          <p:nvPr>
            <p:ph type="dt" sz="half" idx="2"/>
          </p:nvPr>
        </p:nvSpPr>
        <p:spPr>
          <a:xfrm>
            <a:off x="1623723" y="6492240"/>
            <a:ext cx="1584960" cy="201168"/>
          </a:xfrm>
          <a:prstGeom prst="rect">
            <a:avLst/>
          </a:prstGeom>
        </p:spPr>
        <p:txBody>
          <a:bodyPr vert="horz" wrap="square" lIns="0" tIns="0" rIns="0" bIns="0" anchor="t" anchorCtr="0"/>
          <a:lstStyle>
            <a:lvl1pPr>
              <a:defRPr sz="11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D3F59279-3087-FF45-AA3E-4D340672A5CE}" type="datetime1">
              <a:rPr lang="en-GB" smtClean="0">
                <a:solidFill>
                  <a:srgbClr val="646464"/>
                </a:solidFill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05/07/2019</a:t>
            </a:fld>
            <a:endParaRPr lang="en-US" dirty="0">
              <a:solidFill>
                <a:srgbClr val="646464"/>
              </a:solidFill>
              <a:ea typeface="+mn-ea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585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643" r:id="rId2"/>
    <p:sldLayoutId id="2147484644" r:id="rId3"/>
    <p:sldLayoutId id="2147484645" r:id="rId4"/>
    <p:sldLayoutId id="2147484646" r:id="rId5"/>
    <p:sldLayoutId id="2147484647" r:id="rId6"/>
    <p:sldLayoutId id="2147484648" r:id="rId7"/>
    <p:sldLayoutId id="2147484649" r:id="rId8"/>
    <p:sldLayoutId id="2147484650" r:id="rId9"/>
    <p:sldLayoutId id="2147484651" r:id="rId10"/>
    <p:sldLayoutId id="2147484652" r:id="rId11"/>
    <p:sldLayoutId id="2147484653" r:id="rId12"/>
    <p:sldLayoutId id="2147484654" r:id="rId13"/>
    <p:sldLayoutId id="2147484655" r:id="rId14"/>
    <p:sldLayoutId id="2147484656" r:id="rId15"/>
    <p:sldLayoutId id="2147484657" r:id="rId16"/>
    <p:sldLayoutId id="2147484658" r:id="rId17"/>
    <p:sldLayoutId id="2147484659" r:id="rId18"/>
    <p:sldLayoutId id="2147484660" r:id="rId1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46" y="-31737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46" y="1143617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2133" tIns="56067" rIns="112133" bIns="5606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5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4" y="25639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214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913648"/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913648"/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52112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2" r:id="rId1"/>
    <p:sldLayoutId id="2147484663" r:id="rId2"/>
    <p:sldLayoutId id="2147484664" r:id="rId3"/>
    <p:sldLayoutId id="2147484665" r:id="rId4"/>
    <p:sldLayoutId id="2147484666" r:id="rId5"/>
    <p:sldLayoutId id="2147484667" r:id="rId6"/>
    <p:sldLayoutId id="2147484668" r:id="rId7"/>
    <p:sldLayoutId id="2147484669" r:id="rId8"/>
    <p:sldLayoutId id="2147484670" r:id="rId9"/>
    <p:sldLayoutId id="2147484671" r:id="rId10"/>
    <p:sldLayoutId id="2147484672" r:id="rId11"/>
    <p:sldLayoutId id="2147484673" r:id="rId12"/>
    <p:sldLayoutId id="2147484854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400499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800998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201497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601995" algn="l" rtl="0" fontAlgn="base">
        <a:spcBef>
          <a:spcPct val="0"/>
        </a:spcBef>
        <a:spcAft>
          <a:spcPct val="0"/>
        </a:spcAft>
        <a:defRPr sz="3214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300374" indent="-300374" algn="l" rtl="0" fontAlgn="base">
        <a:spcBef>
          <a:spcPct val="20000"/>
        </a:spcBef>
        <a:spcAft>
          <a:spcPct val="0"/>
        </a:spcAft>
        <a:buChar char="•"/>
        <a:defRPr sz="2786">
          <a:solidFill>
            <a:schemeClr val="tx1"/>
          </a:solidFill>
          <a:latin typeface="+mn-lt"/>
          <a:ea typeface="+mn-ea"/>
          <a:cs typeface="+mn-cs"/>
        </a:defRPr>
      </a:lvl1pPr>
      <a:lvl2pPr marL="650811" indent="-250312" algn="l" rtl="0" fontAlgn="base">
        <a:spcBef>
          <a:spcPct val="20000"/>
        </a:spcBef>
        <a:spcAft>
          <a:spcPct val="0"/>
        </a:spcAft>
        <a:buChar char="–"/>
        <a:defRPr sz="2500">
          <a:solidFill>
            <a:schemeClr val="tx1"/>
          </a:solidFill>
          <a:latin typeface="+mn-lt"/>
        </a:defRPr>
      </a:lvl2pPr>
      <a:lvl3pPr marL="1001248" indent="-200250" algn="l" rtl="0" fontAlgn="base">
        <a:spcBef>
          <a:spcPct val="20000"/>
        </a:spcBef>
        <a:spcAft>
          <a:spcPct val="0"/>
        </a:spcAft>
        <a:buChar char="•"/>
        <a:defRPr sz="2071">
          <a:solidFill>
            <a:schemeClr val="tx1"/>
          </a:solidFill>
          <a:latin typeface="+mn-lt"/>
        </a:defRPr>
      </a:lvl3pPr>
      <a:lvl4pPr marL="1401745" indent="-200250" algn="l" rtl="0" fontAlgn="base">
        <a:spcBef>
          <a:spcPct val="20000"/>
        </a:spcBef>
        <a:spcAft>
          <a:spcPct val="0"/>
        </a:spcAft>
        <a:buChar char="–"/>
        <a:defRPr sz="1786">
          <a:solidFill>
            <a:schemeClr val="tx1"/>
          </a:solidFill>
          <a:latin typeface="+mn-lt"/>
        </a:defRPr>
      </a:lvl4pPr>
      <a:lvl5pPr marL="1802243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5pPr>
      <a:lvl6pPr marL="2202740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6pPr>
      <a:lvl7pPr marL="2603242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7pPr>
      <a:lvl8pPr marL="3003744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8pPr>
      <a:lvl9pPr marL="3404239" indent="-200250" algn="l" rtl="0" fontAlgn="base">
        <a:spcBef>
          <a:spcPct val="20000"/>
        </a:spcBef>
        <a:spcAft>
          <a:spcPct val="0"/>
        </a:spcAft>
        <a:buChar char="»"/>
        <a:defRPr sz="178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1pPr>
      <a:lvl2pPr marL="400499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2pPr>
      <a:lvl3pPr marL="800998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3pPr>
      <a:lvl4pPr marL="120149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4pPr>
      <a:lvl5pPr marL="16019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5pPr>
      <a:lvl6pPr marL="2002495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6pPr>
      <a:lvl7pPr marL="2402992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7pPr>
      <a:lvl8pPr marL="2803490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8pPr>
      <a:lvl9pPr marL="3203987" algn="l" defTabSz="800998" rtl="0" eaLnBrk="1" latinLnBrk="0" hangingPunct="1">
        <a:defRPr sz="1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13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5696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0508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5" r:id="rId1"/>
    <p:sldLayoutId id="2147484676" r:id="rId2"/>
    <p:sldLayoutId id="2147484677" r:id="rId3"/>
    <p:sldLayoutId id="2147484678" r:id="rId4"/>
    <p:sldLayoutId id="2147484679" r:id="rId5"/>
    <p:sldLayoutId id="2147484680" r:id="rId6"/>
    <p:sldLayoutId id="2147484681" r:id="rId7"/>
    <p:sldLayoutId id="2147484682" r:id="rId8"/>
    <p:sldLayoutId id="2147484683" r:id="rId9"/>
    <p:sldLayoutId id="2147484684" r:id="rId10"/>
    <p:sldLayoutId id="2147484685" r:id="rId11"/>
    <p:sldLayoutId id="2147484686" r:id="rId12"/>
    <p:sldLayoutId id="2147484687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1740" indent="-281740" algn="l" rtl="0" fontAlgn="base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610433" indent="-234784" algn="l" rtl="0" fontAlgn="base">
        <a:spcBef>
          <a:spcPct val="20000"/>
        </a:spcBef>
        <a:spcAft>
          <a:spcPct val="0"/>
        </a:spcAft>
        <a:buChar char="–"/>
        <a:defRPr sz="2452">
          <a:solidFill>
            <a:schemeClr val="tx1"/>
          </a:solidFill>
          <a:latin typeface="+mn-lt"/>
        </a:defRPr>
      </a:lvl2pPr>
      <a:lvl3pPr marL="939131" indent="-187818" algn="l" rtl="0" fontAlgn="base">
        <a:spcBef>
          <a:spcPct val="20000"/>
        </a:spcBef>
        <a:spcAft>
          <a:spcPct val="0"/>
        </a:spcAft>
        <a:buChar char="•"/>
        <a:defRPr sz="1980">
          <a:solidFill>
            <a:schemeClr val="tx1"/>
          </a:solidFill>
          <a:latin typeface="+mn-lt"/>
        </a:defRPr>
      </a:lvl3pPr>
      <a:lvl4pPr marL="1314785" indent="-187818" algn="l" rtl="0" fontAlgn="base">
        <a:spcBef>
          <a:spcPct val="20000"/>
        </a:spcBef>
        <a:spcAft>
          <a:spcPct val="0"/>
        </a:spcAft>
        <a:buChar char="–"/>
        <a:defRPr sz="1791">
          <a:solidFill>
            <a:schemeClr val="tx1"/>
          </a:solidFill>
          <a:latin typeface="+mn-lt"/>
        </a:defRPr>
      </a:lvl4pPr>
      <a:lvl5pPr marL="1690433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21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1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3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50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66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07900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079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6175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7" r:id="rId1"/>
    <p:sldLayoutId id="2147484718" r:id="rId2"/>
    <p:sldLayoutId id="2147484719" r:id="rId3"/>
    <p:sldLayoutId id="2147484720" r:id="rId4"/>
    <p:sldLayoutId id="2147484721" r:id="rId5"/>
    <p:sldLayoutId id="2147484722" r:id="rId6"/>
    <p:sldLayoutId id="2147484723" r:id="rId7"/>
    <p:sldLayoutId id="2147484724" r:id="rId8"/>
    <p:sldLayoutId id="2147484725" r:id="rId9"/>
    <p:sldLayoutId id="2147484726" r:id="rId10"/>
    <p:sldLayoutId id="2147484727" r:id="rId11"/>
    <p:sldLayoutId id="2147484728" r:id="rId12"/>
    <p:sldLayoutId id="2147484729" r:id="rId13"/>
    <p:sldLayoutId id="2147484730" r:id="rId1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54129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08286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062429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416577" algn="l" rtl="0" fontAlgn="base">
        <a:spcBef>
          <a:spcPct val="0"/>
        </a:spcBef>
        <a:spcAft>
          <a:spcPct val="0"/>
        </a:spcAft>
        <a:defRPr sz="2756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65609" indent="-265609" algn="l" rtl="0" fontAlgn="base">
        <a:spcBef>
          <a:spcPct val="20000"/>
        </a:spcBef>
        <a:spcAft>
          <a:spcPct val="0"/>
        </a:spcAft>
        <a:buChar char="•"/>
        <a:defRPr sz="2489">
          <a:solidFill>
            <a:schemeClr val="tx1"/>
          </a:solidFill>
          <a:latin typeface="+mn-lt"/>
          <a:ea typeface="+mn-ea"/>
          <a:cs typeface="+mn-cs"/>
        </a:defRPr>
      </a:lvl1pPr>
      <a:lvl2pPr marL="575484" indent="-221342" algn="l" rtl="0" fontAlgn="base">
        <a:spcBef>
          <a:spcPct val="20000"/>
        </a:spcBef>
        <a:spcAft>
          <a:spcPct val="0"/>
        </a:spcAft>
        <a:buChar char="–"/>
        <a:defRPr sz="2311">
          <a:solidFill>
            <a:schemeClr val="tx1"/>
          </a:solidFill>
          <a:latin typeface="+mn-lt"/>
        </a:defRPr>
      </a:lvl2pPr>
      <a:lvl3pPr marL="885364" indent="-177065" algn="l" rtl="0" fontAlgn="base">
        <a:spcBef>
          <a:spcPct val="20000"/>
        </a:spcBef>
        <a:spcAft>
          <a:spcPct val="0"/>
        </a:spcAft>
        <a:buChar char="•"/>
        <a:defRPr sz="1867">
          <a:solidFill>
            <a:schemeClr val="tx1"/>
          </a:solidFill>
          <a:latin typeface="+mn-lt"/>
        </a:defRPr>
      </a:lvl3pPr>
      <a:lvl4pPr marL="1239510" indent="-177065" algn="l" rtl="0" fontAlgn="base">
        <a:spcBef>
          <a:spcPct val="20000"/>
        </a:spcBef>
        <a:spcAft>
          <a:spcPct val="0"/>
        </a:spcAft>
        <a:buChar char="–"/>
        <a:defRPr sz="1689">
          <a:solidFill>
            <a:schemeClr val="tx1"/>
          </a:solidFill>
          <a:latin typeface="+mn-lt"/>
        </a:defRPr>
      </a:lvl4pPr>
      <a:lvl5pPr marL="1593652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5pPr>
      <a:lvl6pPr marL="1947799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6pPr>
      <a:lvl7pPr marL="2301944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7pPr>
      <a:lvl8pPr marL="2656092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8pPr>
      <a:lvl9pPr marL="3010230" indent="-177065" algn="l" rtl="0" fontAlgn="base">
        <a:spcBef>
          <a:spcPct val="20000"/>
        </a:spcBef>
        <a:spcAft>
          <a:spcPct val="0"/>
        </a:spcAft>
        <a:buChar char="»"/>
        <a:defRPr sz="168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1pPr>
      <a:lvl2pPr marL="354129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2pPr>
      <a:lvl3pPr marL="708286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3pPr>
      <a:lvl4pPr marL="1062429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4pPr>
      <a:lvl5pPr marL="1416577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5pPr>
      <a:lvl6pPr marL="1770722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6pPr>
      <a:lvl7pPr marL="2124865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7pPr>
      <a:lvl8pPr marL="2479014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8pPr>
      <a:lvl9pPr marL="2833158" algn="l" defTabSz="708286" rtl="0" eaLnBrk="1" latinLnBrk="0" hangingPunct="1">
        <a:defRPr sz="142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4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52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5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761646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761646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4711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1" r:id="rId1"/>
    <p:sldLayoutId id="2147484792" r:id="rId2"/>
    <p:sldLayoutId id="2147484793" r:id="rId3"/>
    <p:sldLayoutId id="2147484794" r:id="rId4"/>
    <p:sldLayoutId id="2147484795" r:id="rId5"/>
    <p:sldLayoutId id="2147484796" r:id="rId6"/>
    <p:sldLayoutId id="2147484797" r:id="rId7"/>
    <p:sldLayoutId id="2147484798" r:id="rId8"/>
    <p:sldLayoutId id="2147484799" r:id="rId9"/>
    <p:sldLayoutId id="2147484800" r:id="rId10"/>
    <p:sldLayoutId id="2147484801" r:id="rId11"/>
    <p:sldLayoutId id="2147484802" r:id="rId12"/>
    <p:sldLayoutId id="2147484803" r:id="rId13"/>
    <p:sldLayoutId id="2147484804" r:id="rId1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33854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667735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001603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335475" algn="l" rtl="0" fontAlgn="base">
        <a:spcBef>
          <a:spcPct val="0"/>
        </a:spcBef>
        <a:spcAft>
          <a:spcPct val="0"/>
        </a:spcAft>
        <a:defRPr sz="2598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50402" indent="-250402" algn="l" rtl="0" fontAlgn="base">
        <a:spcBef>
          <a:spcPct val="20000"/>
        </a:spcBef>
        <a:spcAft>
          <a:spcPct val="0"/>
        </a:spcAft>
        <a:buChar char="•"/>
        <a:defRPr sz="2346">
          <a:solidFill>
            <a:schemeClr val="tx1"/>
          </a:solidFill>
          <a:latin typeface="+mn-lt"/>
          <a:ea typeface="+mn-ea"/>
          <a:cs typeface="+mn-cs"/>
        </a:defRPr>
      </a:lvl1pPr>
      <a:lvl2pPr marL="542536" indent="-208670" algn="l" rtl="0" fontAlgn="base">
        <a:spcBef>
          <a:spcPct val="20000"/>
        </a:spcBef>
        <a:spcAft>
          <a:spcPct val="0"/>
        </a:spcAft>
        <a:buChar char="–"/>
        <a:defRPr sz="2179">
          <a:solidFill>
            <a:schemeClr val="tx1"/>
          </a:solidFill>
          <a:latin typeface="+mn-lt"/>
        </a:defRPr>
      </a:lvl2pPr>
      <a:lvl3pPr marL="834675" indent="-166927" algn="l" rtl="0" fontAlgn="base">
        <a:spcBef>
          <a:spcPct val="20000"/>
        </a:spcBef>
        <a:spcAft>
          <a:spcPct val="0"/>
        </a:spcAft>
        <a:buChar char="•"/>
        <a:defRPr sz="1760">
          <a:solidFill>
            <a:schemeClr val="tx1"/>
          </a:solidFill>
          <a:latin typeface="+mn-lt"/>
        </a:defRPr>
      </a:lvl3pPr>
      <a:lvl4pPr marL="1168545" indent="-166927" algn="l" rtl="0" fontAlgn="base">
        <a:spcBef>
          <a:spcPct val="20000"/>
        </a:spcBef>
        <a:spcAft>
          <a:spcPct val="0"/>
        </a:spcAft>
        <a:buChar char="–"/>
        <a:defRPr sz="1592">
          <a:solidFill>
            <a:schemeClr val="tx1"/>
          </a:solidFill>
          <a:latin typeface="+mn-lt"/>
        </a:defRPr>
      </a:lvl4pPr>
      <a:lvl5pPr marL="1502412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5pPr>
      <a:lvl6pPr marL="1836283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6pPr>
      <a:lvl7pPr marL="2170152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7pPr>
      <a:lvl8pPr marL="2504024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8pPr>
      <a:lvl9pPr marL="2837888" indent="-166927" algn="l" rtl="0" fontAlgn="base">
        <a:spcBef>
          <a:spcPct val="20000"/>
        </a:spcBef>
        <a:spcAft>
          <a:spcPct val="0"/>
        </a:spcAft>
        <a:buChar char="»"/>
        <a:defRPr sz="159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1pPr>
      <a:lvl2pPr marL="33385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2pPr>
      <a:lvl3pPr marL="66773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3pPr>
      <a:lvl4pPr marL="1001603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4pPr>
      <a:lvl5pPr marL="133547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5pPr>
      <a:lvl6pPr marL="166934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6pPr>
      <a:lvl7pPr marL="2003212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7pPr>
      <a:lvl8pPr marL="2337085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8pPr>
      <a:lvl9pPr marL="2670954" algn="l" defTabSz="667735" rtl="0" eaLnBrk="1" latinLnBrk="0" hangingPunct="1">
        <a:defRPr sz="134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9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9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0298" y="-31736"/>
            <a:ext cx="1097153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0298" y="1143612"/>
            <a:ext cx="10971532" cy="4048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8" name="Picture 7" descr="Template landscape shadow_5_Page_5.jpg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6080646"/>
            <a:ext cx="12192000" cy="78759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349" y="25639"/>
            <a:ext cx="2036065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131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6963" eaLnBrk="1" fontAlgn="auto" hangingPunct="1">
              <a:spcBef>
                <a:spcPts val="0"/>
              </a:spcBef>
              <a:spcAft>
                <a:spcPts val="0"/>
              </a:spcAft>
            </a:pPr>
            <a:fld id="{9EBD5762-3BDC-484D-9503-7EA6D5A9A8CE}" type="slidenum">
              <a:rPr lang="en-GB" smtClean="0">
                <a:solidFill>
                  <a:prstClr val="black"/>
                </a:solidFill>
                <a:ea typeface="ＭＳ Ｐゴシック" pitchFamily="34" charset="-128"/>
              </a:rPr>
              <a:pPr defTabSz="856963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87633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  <p:sldLayoutId id="2147484818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5pPr>
      <a:lvl6pPr marL="375635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6pPr>
      <a:lvl7pPr marL="75130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7pPr>
      <a:lvl8pPr marL="1126950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8pPr>
      <a:lvl9pPr marL="1502604" algn="l" rtl="0" fontAlgn="base">
        <a:spcBef>
          <a:spcPct val="0"/>
        </a:spcBef>
        <a:spcAft>
          <a:spcPct val="0"/>
        </a:spcAft>
        <a:defRPr sz="2923" b="1">
          <a:solidFill>
            <a:srgbClr val="84006F"/>
          </a:solidFill>
          <a:latin typeface="Arial" charset="0"/>
          <a:ea typeface="ＭＳ Ｐゴシック" pitchFamily="34" charset="-128"/>
        </a:defRPr>
      </a:lvl9pPr>
    </p:titleStyle>
    <p:bodyStyle>
      <a:lvl1pPr marL="281740" indent="-281740" algn="l" rtl="0" fontAlgn="base">
        <a:spcBef>
          <a:spcPct val="20000"/>
        </a:spcBef>
        <a:spcAft>
          <a:spcPct val="0"/>
        </a:spcAft>
        <a:buChar char="•"/>
        <a:defRPr sz="2640">
          <a:solidFill>
            <a:schemeClr val="tx1"/>
          </a:solidFill>
          <a:latin typeface="+mn-lt"/>
          <a:ea typeface="+mn-ea"/>
          <a:cs typeface="+mn-cs"/>
        </a:defRPr>
      </a:lvl1pPr>
      <a:lvl2pPr marL="610433" indent="-234784" algn="l" rtl="0" fontAlgn="base">
        <a:spcBef>
          <a:spcPct val="20000"/>
        </a:spcBef>
        <a:spcAft>
          <a:spcPct val="0"/>
        </a:spcAft>
        <a:buChar char="–"/>
        <a:defRPr sz="2452">
          <a:solidFill>
            <a:schemeClr val="tx1"/>
          </a:solidFill>
          <a:latin typeface="+mn-lt"/>
        </a:defRPr>
      </a:lvl2pPr>
      <a:lvl3pPr marL="939131" indent="-187818" algn="l" rtl="0" fontAlgn="base">
        <a:spcBef>
          <a:spcPct val="20000"/>
        </a:spcBef>
        <a:spcAft>
          <a:spcPct val="0"/>
        </a:spcAft>
        <a:buChar char="•"/>
        <a:defRPr sz="1980">
          <a:solidFill>
            <a:schemeClr val="tx1"/>
          </a:solidFill>
          <a:latin typeface="+mn-lt"/>
        </a:defRPr>
      </a:lvl3pPr>
      <a:lvl4pPr marL="1314785" indent="-187818" algn="l" rtl="0" fontAlgn="base">
        <a:spcBef>
          <a:spcPct val="20000"/>
        </a:spcBef>
        <a:spcAft>
          <a:spcPct val="0"/>
        </a:spcAft>
        <a:buChar char="–"/>
        <a:defRPr sz="1791">
          <a:solidFill>
            <a:schemeClr val="tx1"/>
          </a:solidFill>
          <a:latin typeface="+mn-lt"/>
        </a:defRPr>
      </a:lvl4pPr>
      <a:lvl5pPr marL="1690433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5pPr>
      <a:lvl6pPr marL="2066087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6pPr>
      <a:lvl7pPr marL="24417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7pPr>
      <a:lvl8pPr marL="2817394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8pPr>
      <a:lvl9pPr marL="3193039" indent="-187818" algn="l" rtl="0" fontAlgn="base">
        <a:spcBef>
          <a:spcPct val="20000"/>
        </a:spcBef>
        <a:spcAft>
          <a:spcPct val="0"/>
        </a:spcAft>
        <a:buChar char="»"/>
        <a:defRPr sz="179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1pPr>
      <a:lvl2pPr marL="375635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2pPr>
      <a:lvl3pPr marL="75130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3pPr>
      <a:lvl4pPr marL="1126950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4pPr>
      <a:lvl5pPr marL="150260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5pPr>
      <a:lvl6pPr marL="187825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6pPr>
      <a:lvl7pPr marL="2253907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7pPr>
      <a:lvl8pPr marL="2629563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8pPr>
      <a:lvl9pPr marL="3005214" algn="l" defTabSz="751300" rtl="0" eaLnBrk="1" latinLnBrk="0" hangingPunct="1">
        <a:defRPr sz="150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2.xml"/><Relationship Id="rId5" Type="http://schemas.openxmlformats.org/officeDocument/2006/relationships/hyperlink" Target="https://procontract.due-north.com/register" TargetMode="External"/><Relationship Id="rId4" Type="http://schemas.openxmlformats.org/officeDocument/2006/relationships/hyperlink" Target="http://valuecroydon.com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9035" y="1854703"/>
            <a:ext cx="10126165" cy="2917398"/>
          </a:xfrm>
        </p:spPr>
        <p:txBody>
          <a:bodyPr/>
          <a:lstStyle/>
          <a:p>
            <a:pPr algn="ctr"/>
            <a:r>
              <a:rPr lang="en-GB" sz="4400" dirty="0" smtClean="0">
                <a:cs typeface="Calibri" panose="020F0502020204030204" pitchFamily="34" charset="0"/>
              </a:rPr>
              <a:t>Carer Assessment, Information, Advice &amp; Support Services Tender Process</a:t>
            </a:r>
            <a:br>
              <a:rPr lang="en-GB" sz="4400" dirty="0" smtClean="0">
                <a:cs typeface="Calibri" panose="020F0502020204030204" pitchFamily="34" charset="0"/>
              </a:rPr>
            </a:br>
            <a:r>
              <a:rPr lang="en-GB" sz="3600" dirty="0"/>
              <a:t/>
            </a:r>
            <a:br>
              <a:rPr lang="en-GB" sz="3600" dirty="0"/>
            </a:b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/>
              <a:t/>
            </a:r>
            <a:br>
              <a:rPr lang="en-GB" sz="2400" dirty="0"/>
            </a:br>
            <a:r>
              <a:rPr lang="en-GB" sz="2400" dirty="0"/>
              <a:t/>
            </a:r>
            <a:br>
              <a:rPr lang="en-GB" sz="2400" dirty="0"/>
            </a:br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1296276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31737"/>
            <a:ext cx="10971532" cy="1592180"/>
          </a:xfrm>
        </p:spPr>
        <p:txBody>
          <a:bodyPr/>
          <a:lstStyle/>
          <a:p>
            <a:r>
              <a:rPr lang="en-GB" sz="3600" dirty="0">
                <a:cs typeface="Calibri" panose="020F0502020204030204" pitchFamily="34" charset="0"/>
              </a:rPr>
              <a:t>Carer </a:t>
            </a:r>
            <a:r>
              <a:rPr lang="en-GB" sz="3600" dirty="0" smtClean="0">
                <a:cs typeface="Calibri" panose="020F0502020204030204" pitchFamily="34" charset="0"/>
              </a:rPr>
              <a:t>Support </a:t>
            </a:r>
            <a:r>
              <a:rPr lang="en-GB" sz="3600" dirty="0" smtClean="0">
                <a:cs typeface="Calibri" panose="020F0502020204030204" pitchFamily="34" charset="0"/>
              </a:rPr>
              <a:t>Services</a:t>
            </a:r>
            <a:r>
              <a:rPr lang="en-GB" dirty="0" smtClean="0"/>
              <a:t>: Aim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7748" y="779977"/>
            <a:ext cx="11214030" cy="5666281"/>
          </a:xfrm>
        </p:spPr>
        <p:txBody>
          <a:bodyPr/>
          <a:lstStyle/>
          <a:p>
            <a:endParaRPr lang="en-GB" sz="26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To meet </a:t>
            </a:r>
            <a:r>
              <a:rPr lang="en-GB" sz="2400" dirty="0"/>
              <a:t>the council’s statutory obligation of providing an independent carer assessment for adult carers in Croydon </a:t>
            </a:r>
            <a:r>
              <a:rPr lang="en-GB" sz="2400" dirty="0" smtClean="0"/>
              <a:t>(</a:t>
            </a:r>
            <a:r>
              <a:rPr lang="en-GB" sz="2400" dirty="0"/>
              <a:t>as defined by the Care Act 2014). 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To </a:t>
            </a:r>
            <a:r>
              <a:rPr lang="en-GB" sz="2400" dirty="0"/>
              <a:t>meet the eligible needs of carers to support them to continuing to provide the </a:t>
            </a:r>
            <a:r>
              <a:rPr lang="en-GB" sz="2400" dirty="0" smtClean="0"/>
              <a:t>care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To support carer </a:t>
            </a:r>
            <a:r>
              <a:rPr lang="en-GB" sz="2400" dirty="0"/>
              <a:t>wellbeing, preventing, reducing and delaying future needs for </a:t>
            </a:r>
            <a:r>
              <a:rPr lang="en-GB" sz="2400" dirty="0" smtClean="0"/>
              <a:t>support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T</a:t>
            </a:r>
            <a:r>
              <a:rPr lang="en-GB" sz="2400" dirty="0" smtClean="0"/>
              <a:t>o </a:t>
            </a:r>
            <a:r>
              <a:rPr lang="en-GB" sz="2400" dirty="0"/>
              <a:t>provide a universal offer of support for all carers, regardless of whether they have a carer assessment or not. </a:t>
            </a:r>
            <a:endParaRPr lang="en-GB" sz="2600" dirty="0"/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To meet the outcomes of the Council’s Corporate Plan.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Provide a locality based service to offer support and advice in the areas where they are needed most.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 smtClean="0"/>
              <a:t>To develop a collaborative approach by working with other agencies to share good practice and support the development of better co-ordinated services. </a:t>
            </a:r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23357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31737"/>
            <a:ext cx="10971532" cy="1641876"/>
          </a:xfrm>
        </p:spPr>
        <p:txBody>
          <a:bodyPr/>
          <a:lstStyle/>
          <a:p>
            <a:r>
              <a:rPr lang="en-GB" sz="3200" dirty="0">
                <a:cs typeface="Calibri" panose="020F0502020204030204" pitchFamily="34" charset="0"/>
              </a:rPr>
              <a:t>Carer Assessment, Information, Advice &amp; Support </a:t>
            </a:r>
            <a:r>
              <a:rPr lang="en-GB" sz="3200" dirty="0" smtClean="0">
                <a:cs typeface="Calibri" panose="020F0502020204030204" pitchFamily="34" charset="0"/>
              </a:rPr>
              <a:t>Services</a:t>
            </a:r>
            <a:r>
              <a:rPr lang="en-GB" dirty="0" smtClean="0"/>
              <a:t>: 1. Outpu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5886" y="1379620"/>
            <a:ext cx="10985892" cy="4225235"/>
          </a:xfrm>
        </p:spPr>
        <p:txBody>
          <a:bodyPr/>
          <a:lstStyle/>
          <a:p>
            <a:pPr marL="0" indent="0">
              <a:spcBef>
                <a:spcPts val="800"/>
              </a:spcBef>
              <a:buNone/>
            </a:pPr>
            <a:r>
              <a:rPr lang="en-GB" sz="2800" dirty="0"/>
              <a:t>The service will focus its delivery of outcomes in the following </a:t>
            </a:r>
            <a:r>
              <a:rPr lang="en-GB" sz="2800" dirty="0" smtClean="0"/>
              <a:t>areas:</a:t>
            </a:r>
          </a:p>
          <a:p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0448395"/>
              </p:ext>
            </p:extLst>
          </p:nvPr>
        </p:nvGraphicFramePr>
        <p:xfrm>
          <a:off x="595886" y="1924372"/>
          <a:ext cx="10903630" cy="4616037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708616"/>
                <a:gridCol w="4260889"/>
                <a:gridCol w="796664"/>
                <a:gridCol w="5137461"/>
              </a:tblGrid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ers assessments completed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7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referrals into the service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ers receiving 1-1 counselling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8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arers attending an information &amp; advice surgery </a:t>
                      </a:r>
                      <a:endParaRPr lang="en-GB" sz="20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ntal health carers supported with casework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9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ers receiving support appropriate to their </a:t>
                      </a:r>
                      <a:r>
                        <a:rPr lang="en-GB" sz="2000" b="0" kern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eds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4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id not attend rate for counselling and carer assessments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0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umber &amp; type of peer support &amp; </a:t>
                      </a:r>
                      <a:r>
                        <a:rPr lang="en-GB" sz="2000" b="0" kern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tivity </a:t>
                      </a: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oups provided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31567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5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ers receive counselling and/or assessment referrals acknowledged within 2 days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1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umber &amp; type of training sessions provided – ensure these respond to carer need.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6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rers receiving </a:t>
                      </a:r>
                      <a:r>
                        <a:rPr lang="en-GB" sz="2000" b="0" kern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spite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12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2000" b="0" kern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umber of volunteers &amp; added value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2362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31737"/>
            <a:ext cx="10971532" cy="1641876"/>
          </a:xfrm>
        </p:spPr>
        <p:txBody>
          <a:bodyPr/>
          <a:lstStyle/>
          <a:p>
            <a:r>
              <a:rPr lang="en-GB" sz="3200" dirty="0">
                <a:cs typeface="Calibri" panose="020F0502020204030204" pitchFamily="34" charset="0"/>
              </a:rPr>
              <a:t>Carer Assessment, Information, Advice &amp; Support </a:t>
            </a:r>
            <a:r>
              <a:rPr lang="en-GB" sz="3200" dirty="0" smtClean="0">
                <a:cs typeface="Calibri" panose="020F0502020204030204" pitchFamily="34" charset="0"/>
              </a:rPr>
              <a:t>Services</a:t>
            </a:r>
            <a:r>
              <a:rPr lang="en-GB" dirty="0" smtClean="0"/>
              <a:t>: 2. Outcome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5886" y="1379620"/>
            <a:ext cx="10985892" cy="4225235"/>
          </a:xfrm>
        </p:spPr>
        <p:txBody>
          <a:bodyPr/>
          <a:lstStyle/>
          <a:p>
            <a:pPr marL="0" indent="0">
              <a:spcBef>
                <a:spcPts val="800"/>
              </a:spcBef>
              <a:buNone/>
            </a:pPr>
            <a:r>
              <a:rPr lang="en-GB" sz="2800" dirty="0"/>
              <a:t>The service will focus its delivery of outcomes in the following </a:t>
            </a:r>
            <a:r>
              <a:rPr lang="en-GB" sz="2800" dirty="0" smtClean="0"/>
              <a:t>areas:</a:t>
            </a:r>
          </a:p>
          <a:p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987019"/>
              </p:ext>
            </p:extLst>
          </p:nvPr>
        </p:nvGraphicFramePr>
        <p:xfrm>
          <a:off x="595886" y="1924372"/>
          <a:ext cx="10903630" cy="434307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708616"/>
                <a:gridCol w="4260889"/>
                <a:gridCol w="796664"/>
                <a:gridCol w="5137461"/>
              </a:tblGrid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 smtClean="0">
                          <a:effectLst/>
                        </a:rPr>
                        <a:t>2.1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ir amount of social contact has improved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2.7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ing that they have been supported by the service.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 smtClean="0">
                          <a:effectLst/>
                        </a:rPr>
                        <a:t>2.2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ir health &amp; wellbeing has improved.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2.8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y feel supported by Croydon Council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 smtClean="0">
                          <a:effectLst/>
                        </a:rPr>
                        <a:t>2.3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y know where to find information &amp; advice / feel better informed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2.9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 marL="21590"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y would recommend the service to a friend or family member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>
                          <a:effectLst/>
                        </a:rPr>
                        <a:t>2.4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that they are better able to cope with their caring role.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2.10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 marL="21590"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being able to spend their personal budget in the way they choose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  <a:tr h="131567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>
                          <a:effectLst/>
                        </a:rPr>
                        <a:t>2.5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ing having an assessment at a time and place convenient to them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>
                          <a:effectLst/>
                        </a:rPr>
                        <a:t>2.11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 marL="21590"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Increase the digital offer for carers to ensure information is available in different formats and at different times and is kept up to date. </a:t>
                      </a:r>
                      <a:endParaRPr lang="en-GB" sz="1400" b="0" kern="1400" dirty="0">
                        <a:effectLst/>
                      </a:endParaRPr>
                    </a:p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 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  <a:tr h="605481"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2.6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arers report being able to have a break from caring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>
                          <a:effectLst/>
                        </a:rPr>
                        <a:t>2.12</a:t>
                      </a:r>
                      <a:endParaRPr lang="en-GB" sz="1400" b="0" kern="14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  <a:tc>
                  <a:txBody>
                    <a:bodyPr/>
                    <a:lstStyle/>
                    <a:p>
                      <a:pPr marL="21590">
                        <a:lnSpc>
                          <a:spcPct val="118000"/>
                        </a:lnSpc>
                        <a:spcAft>
                          <a:spcPts val="600"/>
                        </a:spcAft>
                      </a:pPr>
                      <a:r>
                        <a:rPr lang="en-GB" sz="1600" b="0" kern="1400" dirty="0">
                          <a:effectLst/>
                        </a:rPr>
                        <a:t>Collect carer feedback and evolve accordingly. Collect carer case studies. </a:t>
                      </a:r>
                      <a:endParaRPr lang="en-GB" sz="1400" b="0" kern="14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7038" marR="47038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260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289105"/>
            <a:ext cx="10971532" cy="1143000"/>
          </a:xfrm>
        </p:spPr>
        <p:txBody>
          <a:bodyPr/>
          <a:lstStyle/>
          <a:p>
            <a:r>
              <a:rPr lang="en-GB" sz="3200" dirty="0" smtClean="0"/>
              <a:t>Carer Assessment, Information, Advice &amp; Support Services Tender – Timetable</a:t>
            </a:r>
            <a:endParaRPr lang="en-GB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6704431"/>
              </p:ext>
            </p:extLst>
          </p:nvPr>
        </p:nvGraphicFramePr>
        <p:xfrm>
          <a:off x="2276260" y="2186754"/>
          <a:ext cx="8074442" cy="399258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445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1298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51200">
                <a:tc>
                  <a:txBody>
                    <a:bodyPr/>
                    <a:lstStyle/>
                    <a:p>
                      <a:r>
                        <a:rPr lang="en-GB" dirty="0"/>
                        <a:t>Da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ctiv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6439"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solidFill>
                            <a:schemeClr val="dk1"/>
                          </a:solidFill>
                          <a:latin typeface="+mj-lt"/>
                        </a:rPr>
                        <a:t>End of July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Tender process opens via London Tenders Portal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baseline="0" dirty="0" smtClean="0">
                          <a:latin typeface="+mj-lt"/>
                        </a:rPr>
                        <a:t>Late September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80099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>
                          <a:latin typeface="+mj-lt"/>
                        </a:rPr>
                        <a:t>Tender </a:t>
                      </a:r>
                      <a:r>
                        <a:rPr lang="en-GB" sz="1400" dirty="0" smtClean="0">
                          <a:latin typeface="+mj-lt"/>
                        </a:rPr>
                        <a:t>process </a:t>
                      </a:r>
                      <a:r>
                        <a:rPr lang="en-GB" sz="1400" dirty="0">
                          <a:latin typeface="+mj-lt"/>
                        </a:rPr>
                        <a:t>closes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18</a:t>
                      </a:r>
                      <a:r>
                        <a:rPr lang="en-GB" sz="1400" baseline="30000" dirty="0" smtClean="0">
                          <a:latin typeface="+mj-lt"/>
                        </a:rPr>
                        <a:t>th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Nov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Cabinet delegate award decision to Cabinet Members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6</a:t>
                      </a:r>
                      <a:r>
                        <a:rPr lang="en-GB" sz="1400" baseline="30000" dirty="0" smtClean="0">
                          <a:latin typeface="+mj-lt"/>
                        </a:rPr>
                        <a:t>th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Dec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Outcome letters sent out via</a:t>
                      </a:r>
                      <a:r>
                        <a:rPr lang="en-GB" sz="1400" baseline="0" dirty="0">
                          <a:latin typeface="+mj-lt"/>
                        </a:rPr>
                        <a:t> email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 </a:t>
                      </a:r>
                      <a:r>
                        <a:rPr lang="en-GB" sz="1400" dirty="0">
                          <a:latin typeface="+mj-lt"/>
                        </a:rPr>
                        <a:t>– </a:t>
                      </a:r>
                      <a:r>
                        <a:rPr lang="en-GB" sz="1400" dirty="0" smtClean="0">
                          <a:latin typeface="+mj-lt"/>
                        </a:rPr>
                        <a:t>3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March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Contracts signed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 </a:t>
                      </a:r>
                      <a:r>
                        <a:rPr lang="en-GB" sz="1400" dirty="0">
                          <a:latin typeface="+mj-lt"/>
                        </a:rPr>
                        <a:t>– </a:t>
                      </a:r>
                      <a:r>
                        <a:rPr lang="en-GB" sz="1400" dirty="0" smtClean="0">
                          <a:latin typeface="+mj-lt"/>
                        </a:rPr>
                        <a:t>3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March 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Decommissioning/implementation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dirty="0" smtClean="0">
                          <a:latin typeface="+mj-lt"/>
                        </a:rPr>
                        <a:t> </a:t>
                      </a:r>
                      <a:r>
                        <a:rPr lang="en-GB" sz="1400" dirty="0">
                          <a:latin typeface="+mj-lt"/>
                        </a:rPr>
                        <a:t>s</a:t>
                      </a:r>
                      <a:r>
                        <a:rPr lang="en-GB" sz="1400" dirty="0" smtClean="0">
                          <a:latin typeface="+mj-lt"/>
                        </a:rPr>
                        <a:t>upport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480824"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+mj-lt"/>
                        </a:rPr>
                        <a:t>1</a:t>
                      </a:r>
                      <a:r>
                        <a:rPr lang="en-GB" sz="1400" baseline="30000" dirty="0" smtClean="0">
                          <a:latin typeface="+mj-lt"/>
                        </a:rPr>
                        <a:t>st</a:t>
                      </a:r>
                      <a:r>
                        <a:rPr lang="en-GB" sz="1400" dirty="0" smtClean="0">
                          <a:latin typeface="+mj-lt"/>
                        </a:rPr>
                        <a:t> April</a:t>
                      </a:r>
                      <a:r>
                        <a:rPr lang="en-GB" sz="1400" baseline="0" dirty="0" smtClean="0">
                          <a:latin typeface="+mj-lt"/>
                        </a:rPr>
                        <a:t> </a:t>
                      </a:r>
                      <a:r>
                        <a:rPr lang="en-GB" sz="1400" baseline="0" dirty="0">
                          <a:latin typeface="+mj-lt"/>
                        </a:rPr>
                        <a:t>2020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+mj-lt"/>
                        </a:rPr>
                        <a:t>New contracts go live</a:t>
                      </a:r>
                      <a:endParaRPr lang="en-GB" sz="14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610245" y="1640152"/>
            <a:ext cx="31562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 smtClean="0">
                <a:solidFill>
                  <a:schemeClr val="tx1"/>
                </a:solidFill>
              </a:rPr>
              <a:t>Budget </a:t>
            </a:r>
            <a:r>
              <a:rPr lang="en-GB" sz="2000" dirty="0">
                <a:solidFill>
                  <a:schemeClr val="tx1"/>
                </a:solidFill>
              </a:rPr>
              <a:t>up to £473,000 pa</a:t>
            </a:r>
          </a:p>
        </p:txBody>
      </p:sp>
    </p:spTree>
    <p:extLst>
      <p:ext uri="{BB962C8B-B14F-4D97-AF65-F5344CB8AC3E}">
        <p14:creationId xmlns:p14="http://schemas.microsoft.com/office/powerpoint/2010/main" val="292112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you need to complet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788277"/>
            <a:ext cx="10971532" cy="5754414"/>
          </a:xfrm>
        </p:spPr>
        <p:txBody>
          <a:bodyPr/>
          <a:lstStyle/>
          <a:p>
            <a:r>
              <a:rPr lang="en-GB" sz="2400" b="1" dirty="0" smtClean="0"/>
              <a:t>Part 1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otential </a:t>
            </a:r>
            <a:r>
              <a:rPr lang="en-GB" sz="2400" dirty="0"/>
              <a:t>Supplier </a:t>
            </a:r>
            <a:r>
              <a:rPr lang="en-GB" sz="2400" dirty="0" smtClean="0"/>
              <a:t>inform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Bidding </a:t>
            </a:r>
            <a:r>
              <a:rPr lang="en-GB" sz="2400" dirty="0"/>
              <a:t>Model and Contact </a:t>
            </a:r>
            <a:r>
              <a:rPr lang="en-GB" sz="2400" dirty="0" smtClean="0"/>
              <a:t>Detail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Declaration and grounds for mandatory/discretionary exclusion.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b="1" dirty="0" smtClean="0"/>
              <a:t>Part 2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Minimum financial turnover £950k pa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ss financial standing test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reference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comply to Modern Day Slavery Act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Minimum insurance levels, £5m Public and Employers Liability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Have in place a Business Continuity Pla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y the London Living Wage</a:t>
            </a:r>
            <a:endParaRPr lang="en-GB" sz="2400" dirty="0"/>
          </a:p>
          <a:p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282031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you need to complet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788277"/>
            <a:ext cx="10971532" cy="5754414"/>
          </a:xfrm>
        </p:spPr>
        <p:txBody>
          <a:bodyPr/>
          <a:lstStyle/>
          <a:p>
            <a:r>
              <a:rPr lang="en-GB" sz="2400" b="1" dirty="0" smtClean="0"/>
              <a:t>Part 3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Answer 5 method statement question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a presentation to the Carers Panel and Council Officer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5 method statements and presentation to panel form 70% of evalu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age limit for each question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b="1" dirty="0" smtClean="0"/>
              <a:t>Part 4- Details required include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Provide a breakdown of your financial model (budget sheet provided)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Assessment will be made on Value for Money linked to method statement questions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Cost of service forms 30% of the evaluation</a:t>
            </a:r>
          </a:p>
          <a:p>
            <a:pPr marL="803275" indent="-441325">
              <a:buFont typeface="Wingdings" panose="05000000000000000000" pitchFamily="2" charset="2"/>
              <a:buChar char="ü"/>
            </a:pPr>
            <a:r>
              <a:rPr lang="en-GB" sz="2400" dirty="0" smtClean="0"/>
              <a:t>Lowest price awarded maximum 30%</a:t>
            </a:r>
          </a:p>
          <a:p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08660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246" y="-189392"/>
            <a:ext cx="10971532" cy="1143000"/>
          </a:xfrm>
        </p:spPr>
        <p:txBody>
          <a:bodyPr/>
          <a:lstStyle/>
          <a:p>
            <a:pPr algn="ctr"/>
            <a:r>
              <a:rPr lang="en-GB" dirty="0" smtClean="0"/>
              <a:t>Tender Process- What to do during the tender perio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788277"/>
            <a:ext cx="10971532" cy="5754414"/>
          </a:xfrm>
        </p:spPr>
        <p:txBody>
          <a:bodyPr/>
          <a:lstStyle/>
          <a:p>
            <a:r>
              <a:rPr lang="en-GB" sz="2400" dirty="0" smtClean="0"/>
              <a:t>Raise questions via the London Tenders Portal to clarify anything you are unsure of</a:t>
            </a:r>
          </a:p>
          <a:p>
            <a:pPr marL="0" indent="0">
              <a:buNone/>
            </a:pPr>
            <a:endParaRPr lang="en-GB" sz="2400" dirty="0"/>
          </a:p>
          <a:p>
            <a:r>
              <a:rPr lang="en-GB" sz="2400" dirty="0" smtClean="0"/>
              <a:t>The Council encourages collaboration as part of the delivery of the Carers service. Use today to network with organisations.</a:t>
            </a:r>
          </a:p>
          <a:p>
            <a:endParaRPr lang="en-GB" sz="2400" dirty="0"/>
          </a:p>
          <a:p>
            <a:r>
              <a:rPr lang="en-GB" sz="2400" dirty="0" smtClean="0"/>
              <a:t>Make sure that you return all the required information and check that all questions have been answered.</a:t>
            </a:r>
          </a:p>
          <a:p>
            <a:endParaRPr lang="en-GB" sz="2400" dirty="0" smtClean="0"/>
          </a:p>
          <a:p>
            <a:r>
              <a:rPr lang="en-GB" sz="2400" dirty="0" smtClean="0"/>
              <a:t>Don’t leave it to the last minute to load your tender response on the portal.</a:t>
            </a:r>
          </a:p>
          <a:p>
            <a:endParaRPr lang="en-GB" sz="2400" dirty="0"/>
          </a:p>
          <a:p>
            <a:r>
              <a:rPr lang="en-GB" sz="2400" dirty="0" smtClean="0"/>
              <a:t>Remember the deadline for application is </a:t>
            </a:r>
            <a:r>
              <a:rPr lang="en-GB" sz="2400" dirty="0" smtClean="0"/>
              <a:t>end </a:t>
            </a:r>
            <a:r>
              <a:rPr lang="en-GB" sz="2400" dirty="0" smtClean="0"/>
              <a:t>of </a:t>
            </a:r>
            <a:r>
              <a:rPr lang="en-GB" sz="2400" smtClean="0"/>
              <a:t>September 2019.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2500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6000" dirty="0" smtClean="0"/>
              <a:t>Any questions? </a:t>
            </a:r>
          </a:p>
          <a:p>
            <a:pPr marL="0" indent="0" algn="ctr">
              <a:buNone/>
            </a:pPr>
            <a:endParaRPr lang="en-GB" sz="4000" dirty="0"/>
          </a:p>
          <a:p>
            <a:pPr marL="0" indent="0" algn="ctr">
              <a:buNone/>
            </a:pPr>
            <a:endParaRPr lang="en-GB" sz="4000" dirty="0" smtClean="0"/>
          </a:p>
          <a:p>
            <a:pPr marL="0" indent="0" algn="ctr">
              <a:buNone/>
            </a:pPr>
            <a:r>
              <a:rPr lang="en-GB" sz="4000" dirty="0" smtClean="0"/>
              <a:t>Opportunity for networking</a:t>
            </a:r>
            <a:endParaRPr lang="en-GB" sz="4000" dirty="0"/>
          </a:p>
        </p:txBody>
      </p:sp>
    </p:spTree>
    <p:extLst>
      <p:ext uri="{BB962C8B-B14F-4D97-AF65-F5344CB8AC3E}">
        <p14:creationId xmlns:p14="http://schemas.microsoft.com/office/powerpoint/2010/main" val="3780834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>
            <a:extLst>
              <a:ext uri="{FF2B5EF4-FFF2-40B4-BE49-F238E27FC236}">
                <a16:creationId xmlns:a16="http://schemas.microsoft.com/office/drawing/2014/main" xmlns="" id="{0B80D726-5F83-43CA-A57E-A3E5269093D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209834" y="2443029"/>
            <a:ext cx="7772332" cy="3019028"/>
          </a:xfrm>
        </p:spPr>
        <p:txBody>
          <a:bodyPr anchor="t"/>
          <a:lstStyle/>
          <a:p>
            <a:pPr algn="l" eaLnBrk="1" hangingPunct="1"/>
            <a:r>
              <a:rPr lang="en-GB" altLang="en-US" b="1" dirty="0">
                <a:solidFill>
                  <a:schemeClr val="bg1"/>
                </a:solidFill>
                <a:latin typeface="Arial" panose="020B0604020202020204" pitchFamily="34" charset="0"/>
              </a:rPr>
              <a:t>Presentation Title</a:t>
            </a:r>
            <a:r>
              <a:rPr lang="en-GB" altLang="en-US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139" i="1" dirty="0">
                <a:solidFill>
                  <a:schemeClr val="bg1"/>
                </a:solidFill>
                <a:latin typeface="Arial" panose="020B0604020202020204" pitchFamily="34" charset="0"/>
              </a:rPr>
              <a:t>Presented by John Smith</a:t>
            </a: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  <a:t/>
            </a:r>
            <a:br>
              <a:rPr lang="en-GB" altLang="en-US" sz="2738" i="1" dirty="0">
                <a:solidFill>
                  <a:schemeClr val="bg1"/>
                </a:solidFill>
                <a:latin typeface="Arial" panose="020B0604020202020204" pitchFamily="34" charset="0"/>
              </a:rPr>
            </a:br>
            <a:endParaRPr lang="en-GB" altLang="en-US" sz="1797" i="1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pic>
        <p:nvPicPr>
          <p:cNvPr id="4100" name="Picture 5">
            <a:extLst>
              <a:ext uri="{FF2B5EF4-FFF2-40B4-BE49-F238E27FC236}">
                <a16:creationId xmlns:a16="http://schemas.microsoft.com/office/drawing/2014/main" xmlns="" id="{16288767-E253-4C5E-BC16-79CD4048AF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64" y="6077270"/>
            <a:ext cx="1803540" cy="380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1" name="Rectangle 4">
            <a:extLst>
              <a:ext uri="{FF2B5EF4-FFF2-40B4-BE49-F238E27FC236}">
                <a16:creationId xmlns:a16="http://schemas.microsoft.com/office/drawing/2014/main" xmlns="" id="{7229FCCC-89F1-4BEB-A6AD-1B40354CE7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09035" y="1499186"/>
            <a:ext cx="7772333" cy="3019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6" tIns="44609" rIns="89216" bIns="44609" anchor="t"/>
          <a:lstStyle>
            <a:lvl1pPr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1pPr>
            <a:lvl2pPr marL="742950" indent="-28575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2pPr>
            <a:lvl3pPr marL="11430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3pPr>
            <a:lvl4pPr marL="16002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4pPr>
            <a:lvl5pPr marL="2057400" indent="-228600"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700">
                <a:solidFill>
                  <a:schemeClr val="tx1"/>
                </a:solidFill>
                <a:latin typeface="Times" panose="02020603050405020304" pitchFamily="18" charset="0"/>
                <a:ea typeface="ヒラギノ角ゴ Pro W3"/>
                <a:cs typeface="ヒラギノ角ゴ Pro W3"/>
              </a:defRPr>
            </a:lvl9pPr>
          </a:lstStyle>
          <a:p>
            <a:pPr algn="ctr" eaLnBrk="1" hangingPunct="1"/>
            <a:r>
              <a:rPr lang="en-GB" altLang="en-US" sz="3080" b="1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Thank </a:t>
            </a:r>
            <a:r>
              <a:rPr lang="en-GB" altLang="en-US" sz="3080" b="1" dirty="0" smtClean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you for listening!</a:t>
            </a:r>
          </a:p>
          <a:p>
            <a:pPr algn="ctr" eaLnBrk="1" hangingPunct="1"/>
            <a:r>
              <a:rPr lang="en-GB" altLang="en-US" sz="3080" b="1" dirty="0" smtClean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Further information:</a:t>
            </a:r>
            <a:endParaRPr lang="en-GB" altLang="en-US" sz="3080" b="1" dirty="0"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2395" b="1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  <a:p>
            <a:pPr algn="ctr" eaLnBrk="1" hangingPunct="1"/>
            <a:r>
              <a:rPr lang="en-GB" altLang="en-US" sz="3080" dirty="0" smtClean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4"/>
              </a:rPr>
              <a:t>www.valuecroydon.com</a:t>
            </a:r>
            <a:r>
              <a:rPr lang="en-GB" altLang="en-US" sz="3080" dirty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4"/>
              </a:rPr>
              <a:t>/</a:t>
            </a:r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r>
              <a:rPr lang="en-GB" altLang="en-US" sz="3080" dirty="0" smtClean="0"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/>
                <a:hlinkClick r:id="rId5"/>
              </a:rPr>
              <a:t>https://procontract.due-north.com/register</a:t>
            </a:r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endParaRPr lang="en-GB" altLang="en-US" sz="3080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  <a:p>
            <a:pPr algn="ctr" eaLnBrk="1" hangingPunct="1"/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/>
            </a:r>
            <a:br>
              <a:rPr lang="en-GB" altLang="en-US" sz="3080" dirty="0"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</a:br>
            <a:endParaRPr lang="en-GB" altLang="en-US" sz="1797" i="1" dirty="0">
              <a:solidFill>
                <a:schemeClr val="bg1"/>
              </a:solidFill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2947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7528" y="164160"/>
            <a:ext cx="8712968" cy="1078321"/>
          </a:xfrm>
        </p:spPr>
        <p:txBody>
          <a:bodyPr/>
          <a:lstStyle/>
          <a:p>
            <a:pPr eaLnBrk="1" hangingPunct="1">
              <a:defRPr/>
            </a:pPr>
            <a:r>
              <a:rPr lang="en-GB" sz="3032" dirty="0"/>
              <a:t>Agend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847528" y="1242480"/>
            <a:ext cx="83529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2063552" y="1340768"/>
            <a:ext cx="72008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 smtClean="0"/>
              <a:t>Welcome</a:t>
            </a:r>
          </a:p>
          <a:p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 smtClean="0"/>
              <a:t>Carers </a:t>
            </a:r>
            <a:r>
              <a:rPr lang="en-GB" sz="2800" dirty="0" smtClean="0"/>
              <a:t>support service </a:t>
            </a:r>
            <a:r>
              <a:rPr lang="en-GB" sz="2800" dirty="0" smtClean="0"/>
              <a:t>commissioning </a:t>
            </a: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Overview of the commissioning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800" dirty="0"/>
              <a:t>Q &amp; A</a:t>
            </a:r>
          </a:p>
          <a:p>
            <a:endParaRPr lang="en-GB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65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88107"/>
            <a:ext cx="8856984" cy="1078321"/>
          </a:xfrm>
        </p:spPr>
        <p:txBody>
          <a:bodyPr/>
          <a:lstStyle/>
          <a:p>
            <a:pPr eaLnBrk="1" hangingPunct="1">
              <a:defRPr/>
            </a:pPr>
            <a:r>
              <a:rPr lang="en-GB" sz="3032" dirty="0"/>
              <a:t>Why have we adopted a VCS Strateg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512" y="1166427"/>
            <a:ext cx="8856984" cy="4295630"/>
          </a:xfrm>
        </p:spPr>
        <p:txBody>
          <a:bodyPr/>
          <a:lstStyle/>
          <a:p>
            <a:pPr marL="323507" indent="-323507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000000"/>
                </a:solidFill>
                <a:cs typeface="Calibri" panose="020F0502020204030204" pitchFamily="34" charset="0"/>
              </a:rPr>
              <a:t>Croydon Council has committed to maintain our contribution to the </a:t>
            </a:r>
            <a:r>
              <a:rPr lang="en-GB" sz="2400" dirty="0" smtClean="0">
                <a:solidFill>
                  <a:srgbClr val="000000"/>
                </a:solidFill>
                <a:cs typeface="Calibri" panose="020F0502020204030204" pitchFamily="34" charset="0"/>
              </a:rPr>
              <a:t>sector despite ongoing </a:t>
            </a:r>
            <a:r>
              <a:rPr lang="en-GB" sz="2400" dirty="0">
                <a:solidFill>
                  <a:srgbClr val="000000"/>
                </a:solidFill>
                <a:cs typeface="Calibri" panose="020F0502020204030204" pitchFamily="34" charset="0"/>
              </a:rPr>
              <a:t>financial pressures (75% reduction in government grant between 2011 and 2020)</a:t>
            </a:r>
          </a:p>
          <a:p>
            <a:pPr marL="323507" indent="-323507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marL="323507" indent="-323507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000000"/>
                </a:solidFill>
                <a:cs typeface="Calibri" panose="020F0502020204030204" pitchFamily="34" charset="0"/>
              </a:rPr>
              <a:t>Cannot continue ‘as is’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Focus our support more on Corporate Plan priorities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Achieve Value for Money 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Increase collaboration and reduce duplication</a:t>
            </a:r>
          </a:p>
          <a:p>
            <a:pPr marL="673944" lvl="1" indent="-323507">
              <a:buFont typeface="Arial" panose="020B0604020202020204" pitchFamily="34" charset="0"/>
              <a:buChar char="•"/>
              <a:defRPr/>
            </a:pPr>
            <a:r>
              <a:rPr lang="en-GB" sz="2400" dirty="0"/>
              <a:t>Different responses to different issues in different areas</a:t>
            </a:r>
          </a:p>
        </p:txBody>
      </p:sp>
    </p:spTree>
    <p:extLst>
      <p:ext uri="{BB962C8B-B14F-4D97-AF65-F5344CB8AC3E}">
        <p14:creationId xmlns:p14="http://schemas.microsoft.com/office/powerpoint/2010/main" val="126959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1545" y="1029992"/>
            <a:ext cx="8228649" cy="857250"/>
          </a:xfrm>
        </p:spPr>
        <p:txBody>
          <a:bodyPr/>
          <a:lstStyle/>
          <a:p>
            <a:r>
              <a:rPr lang="en-GB"/>
              <a:t/>
            </a:r>
            <a:br>
              <a:rPr lang="en-GB"/>
            </a:br>
            <a:endParaRPr lang="en-GB"/>
          </a:p>
        </p:txBody>
      </p:sp>
      <p:sp>
        <p:nvSpPr>
          <p:cNvPr id="43" name="Title 1"/>
          <p:cNvSpPr txBox="1">
            <a:spLocks/>
          </p:cNvSpPr>
          <p:nvPr/>
        </p:nvSpPr>
        <p:spPr bwMode="auto">
          <a:xfrm>
            <a:off x="1587458" y="-64678"/>
            <a:ext cx="8856984" cy="1078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9690" tIns="39845" rIns="79690" bIns="39845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5pPr>
            <a:lvl6pPr marL="298835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6pPr>
            <a:lvl7pPr marL="597695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7pPr>
            <a:lvl8pPr marL="896542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8pPr>
            <a:lvl9pPr marL="1195392" algn="l" rtl="0" eaLnBrk="1" fontAlgn="base" hangingPunct="1">
              <a:spcBef>
                <a:spcPct val="0"/>
              </a:spcBef>
              <a:spcAft>
                <a:spcPct val="0"/>
              </a:spcAft>
              <a:defRPr sz="2325" b="1">
                <a:solidFill>
                  <a:srgbClr val="84006F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sz="3032" kern="0"/>
              <a:t>The commissioning approach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1873580" y="980728"/>
            <a:ext cx="8308673" cy="576064"/>
          </a:xfrm>
          <a:prstGeom prst="rect">
            <a:avLst/>
          </a:prstGeom>
          <a:solidFill>
            <a:srgbClr val="84006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3200" dirty="0">
                <a:solidFill>
                  <a:srgbClr val="FFFFFF"/>
                </a:solidFill>
              </a:rPr>
              <a:t>Community Fund - </a:t>
            </a:r>
            <a:r>
              <a:rPr lang="en-GB" sz="3200" dirty="0">
                <a:solidFill>
                  <a:prstClr val="white"/>
                </a:solidFill>
              </a:rPr>
              <a:t>£2.6m p/a next 3 years</a:t>
            </a:r>
          </a:p>
          <a:p>
            <a:pPr algn="ctr"/>
            <a:endParaRPr lang="en-GB" sz="3200" dirty="0">
              <a:solidFill>
                <a:srgbClr val="FFFFFF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320538"/>
              </p:ext>
            </p:extLst>
          </p:nvPr>
        </p:nvGraphicFramePr>
        <p:xfrm>
          <a:off x="1769535" y="3591301"/>
          <a:ext cx="8561087" cy="274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336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03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952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1106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1106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2714757"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icative </a:t>
                      </a:r>
                      <a:r>
                        <a:rPr lang="en-GB" sz="1200" b="1" kern="1200" baseline="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ocation 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outcome</a:t>
                      </a: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% for emerging need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age procurement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utcomes linked to VCS strategy</a:t>
                      </a:r>
                    </a:p>
                    <a:p>
                      <a:pPr marL="171450" lvl="0" indent="-171450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cludes ring fenced Prevention Fund 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</a:t>
                      </a:r>
                      <a:r>
                        <a:rPr lang="en-GB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</a:t>
                      </a:r>
                      <a:r>
                        <a:rPr lang="en-GB" sz="1200" b="1" kern="1200" baseline="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ars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ty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ssurance </a:t>
                      </a: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Contract Management Prevention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und Contracts under £15k</a:t>
                      </a: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3 years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59769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597695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laborative bids encouraged – collaboration agreement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etween Council &amp; </a:t>
                      </a:r>
                      <a:r>
                        <a:rPr lang="en-GB" sz="1200" b="1" kern="1200" baseline="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rs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OI, tender</a:t>
                      </a:r>
                      <a:r>
                        <a:rPr lang="en-GB" sz="1200" b="1" kern="1200" baseline="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ith the option to </a:t>
                      </a: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gotiate</a:t>
                      </a:r>
                    </a:p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£250,00</a:t>
                      </a:r>
                      <a:r>
                        <a:rPr lang="en-GB" sz="1200" b="1" kern="1200" baseline="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p/a</a:t>
                      </a:r>
                      <a:endParaRPr lang="en-GB" sz="1200" b="1" kern="1200" dirty="0" smtClean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 algn="l" defTabSz="597695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</a:t>
                      </a: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3 years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</a:t>
                      </a: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ars</a:t>
                      </a:r>
                    </a:p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 smtClean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£473,000 pa</a:t>
                      </a: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stage procurement</a:t>
                      </a:r>
                    </a:p>
                    <a:p>
                      <a:pPr marL="171450" lvl="0" indent="-171450" algn="l" defTabSz="597695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GB" sz="1200" b="1" kern="1200" dirty="0">
                          <a:solidFill>
                            <a:srgbClr val="84006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 for 3 years</a:t>
                      </a:r>
                    </a:p>
                    <a:p>
                      <a:pPr marL="171450" lvl="0" indent="-171450" algn="l" defTabSz="597695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GB" sz="1200" b="1" kern="1200" dirty="0">
                        <a:solidFill>
                          <a:srgbClr val="84006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1689135" y="1740702"/>
            <a:ext cx="8676134" cy="1825237"/>
            <a:chOff x="179512" y="1726324"/>
            <a:chExt cx="8676134" cy="1825237"/>
          </a:xfrm>
        </p:grpSpPr>
        <p:sp>
          <p:nvSpPr>
            <p:cNvPr id="4" name="Oval 3"/>
            <p:cNvSpPr/>
            <p:nvPr/>
          </p:nvSpPr>
          <p:spPr>
            <a:xfrm>
              <a:off x="349579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5" name="Rechteck 24"/>
            <p:cNvSpPr/>
            <p:nvPr/>
          </p:nvSpPr>
          <p:spPr bwMode="gray">
            <a:xfrm>
              <a:off x="677204" y="2768025"/>
              <a:ext cx="1230500" cy="267766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anchor="ctr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>
                  <a:solidFill>
                    <a:srgbClr val="84006F"/>
                  </a:solidFill>
                </a:rPr>
                <a:t>Outcomes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6" name="Oval 5"/>
            <p:cNvSpPr/>
            <p:nvPr/>
          </p:nvSpPr>
          <p:spPr>
            <a:xfrm>
              <a:off x="179512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1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19" name="Right Arrow 18"/>
            <p:cNvSpPr/>
            <p:nvPr/>
          </p:nvSpPr>
          <p:spPr>
            <a:xfrm rot="5400000">
              <a:off x="878454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ight Arrow 4"/>
            <p:cNvSpPr/>
            <p:nvPr/>
          </p:nvSpPr>
          <p:spPr>
            <a:xfrm rot="5400000">
              <a:off x="954054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25" name="Right Arrow 24"/>
            <p:cNvSpPr/>
            <p:nvPr/>
          </p:nvSpPr>
          <p:spPr>
            <a:xfrm rot="5400000">
              <a:off x="6066498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ight Arrow 4"/>
            <p:cNvSpPr/>
            <p:nvPr/>
          </p:nvSpPr>
          <p:spPr>
            <a:xfrm rot="5400000">
              <a:off x="6142098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28" name="Right Arrow 27"/>
            <p:cNvSpPr/>
            <p:nvPr/>
          </p:nvSpPr>
          <p:spPr>
            <a:xfrm rot="5400000">
              <a:off x="7795844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ight Arrow 4"/>
            <p:cNvSpPr/>
            <p:nvPr/>
          </p:nvSpPr>
          <p:spPr>
            <a:xfrm rot="5400000">
              <a:off x="7871444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2077771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36" name="Rechteck 24"/>
            <p:cNvSpPr/>
            <p:nvPr/>
          </p:nvSpPr>
          <p:spPr bwMode="gray">
            <a:xfrm>
              <a:off x="2361089" y="2431976"/>
              <a:ext cx="1230500" cy="79406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dirty="0">
                  <a:solidFill>
                    <a:srgbClr val="84006F"/>
                  </a:solidFill>
                </a:rPr>
                <a:t>Prevention Fund - Quality Assurance &amp; contract </a:t>
              </a:r>
              <a:r>
                <a:rPr lang="en-US" sz="1200" b="1" dirty="0" err="1">
                  <a:solidFill>
                    <a:srgbClr val="84006F"/>
                  </a:solidFill>
                </a:rPr>
                <a:t>mgt</a:t>
              </a:r>
              <a:endParaRPr lang="en-US" sz="800" dirty="0">
                <a:solidFill>
                  <a:srgbClr val="646464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907704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2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3805963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0" name="Rechteck 24"/>
            <p:cNvSpPr/>
            <p:nvPr/>
          </p:nvSpPr>
          <p:spPr bwMode="gray">
            <a:xfrm>
              <a:off x="4133588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err="1">
                  <a:solidFill>
                    <a:srgbClr val="84006F"/>
                  </a:solidFill>
                </a:rPr>
                <a:t>InfrastructureSupport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41" name="Oval 40"/>
            <p:cNvSpPr/>
            <p:nvPr/>
          </p:nvSpPr>
          <p:spPr>
            <a:xfrm>
              <a:off x="3635896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3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44" name="Oval 43"/>
            <p:cNvSpPr/>
            <p:nvPr/>
          </p:nvSpPr>
          <p:spPr>
            <a:xfrm>
              <a:off x="5534155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5" name="Rechteck 24"/>
            <p:cNvSpPr/>
            <p:nvPr/>
          </p:nvSpPr>
          <p:spPr bwMode="gray">
            <a:xfrm>
              <a:off x="5943233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 err="1">
                  <a:solidFill>
                    <a:srgbClr val="84006F"/>
                  </a:solidFill>
                </a:rPr>
                <a:t>Carers</a:t>
              </a:r>
              <a:r>
                <a:rPr lang="en-US" sz="1200" b="1">
                  <a:solidFill>
                    <a:srgbClr val="84006F"/>
                  </a:solidFill>
                </a:rPr>
                <a:t> Services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5364088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4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7262347" y="2250051"/>
              <a:ext cx="1550963" cy="1301510"/>
            </a:xfrm>
            <a:prstGeom prst="ellipse">
              <a:avLst/>
            </a:prstGeom>
            <a:solidFill>
              <a:srgbClr val="F0F0F0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IN" sz="2000">
                <a:solidFill>
                  <a:srgbClr val="FFFFFF"/>
                </a:solidFill>
              </a:endParaRPr>
            </a:p>
          </p:txBody>
        </p:sp>
        <p:sp>
          <p:nvSpPr>
            <p:cNvPr id="49" name="Rechteck 24"/>
            <p:cNvSpPr/>
            <p:nvPr/>
          </p:nvSpPr>
          <p:spPr bwMode="gray">
            <a:xfrm>
              <a:off x="7625146" y="2671076"/>
              <a:ext cx="1230500" cy="44319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defTabSz="646537" eaLnBrk="1" fontAlgn="auto" hangingPunct="1">
                <a:lnSpc>
                  <a:spcPct val="95000"/>
                </a:lnSpc>
                <a:spcBef>
                  <a:spcPts val="0"/>
                </a:spcBef>
                <a:spcAft>
                  <a:spcPts val="566"/>
                </a:spcAft>
                <a:defRPr/>
              </a:pPr>
              <a:r>
                <a:rPr lang="en-US" sz="1200" b="1">
                  <a:solidFill>
                    <a:srgbClr val="84006F"/>
                  </a:solidFill>
                </a:rPr>
                <a:t>Advice Services</a:t>
              </a:r>
              <a:endParaRPr lang="en-US" sz="800">
                <a:solidFill>
                  <a:srgbClr val="646464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7092280" y="2699037"/>
              <a:ext cx="502323" cy="421531"/>
            </a:xfrm>
            <a:prstGeom prst="ellipse">
              <a:avLst/>
            </a:prstGeom>
            <a:solidFill>
              <a:srgbClr val="84006F"/>
            </a:solidFill>
            <a:ln w="57150">
              <a:solidFill>
                <a:srgbClr val="F0F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646537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2400" b="1">
                  <a:solidFill>
                    <a:srgbClr val="FFFFFF"/>
                  </a:solidFill>
                </a:rPr>
                <a:t>05</a:t>
              </a:r>
              <a:endParaRPr lang="en-IN" sz="2400" b="1">
                <a:solidFill>
                  <a:srgbClr val="FFFFFF"/>
                </a:solidFill>
              </a:endParaRPr>
            </a:p>
          </p:txBody>
        </p:sp>
        <p:sp>
          <p:nvSpPr>
            <p:cNvPr id="54" name="Right Arrow 53"/>
            <p:cNvSpPr/>
            <p:nvPr/>
          </p:nvSpPr>
          <p:spPr>
            <a:xfrm rot="5400000">
              <a:off x="2607802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Right Arrow 4"/>
            <p:cNvSpPr/>
            <p:nvPr/>
          </p:nvSpPr>
          <p:spPr>
            <a:xfrm rot="5400000">
              <a:off x="2683402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  <p:sp>
          <p:nvSpPr>
            <p:cNvPr id="57" name="Right Arrow 56"/>
            <p:cNvSpPr/>
            <p:nvPr/>
          </p:nvSpPr>
          <p:spPr>
            <a:xfrm rot="5400000">
              <a:off x="4337150" y="1816324"/>
              <a:ext cx="504000" cy="324000"/>
            </a:xfrm>
            <a:prstGeom prst="rightArrow">
              <a:avLst>
                <a:gd name="adj1" fmla="val 60000"/>
                <a:gd name="adj2" fmla="val 50000"/>
              </a:avLst>
            </a:prstGeom>
            <a:solidFill>
              <a:srgbClr val="84006F"/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8" name="Right Arrow 4"/>
            <p:cNvSpPr/>
            <p:nvPr/>
          </p:nvSpPr>
          <p:spPr>
            <a:xfrm rot="5400000">
              <a:off x="4412750" y="1805524"/>
              <a:ext cx="352800" cy="194400"/>
            </a:xfrm>
            <a:prstGeom prst="rect">
              <a:avLst/>
            </a:prstGeom>
            <a:solidFill>
              <a:srgbClr val="84006F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Aft>
                  <a:spcPct val="35000"/>
                </a:spcAft>
              </a:pPr>
              <a:endParaRPr lang="en-GB" sz="1700">
                <a:solidFill>
                  <a:prstClr val="white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85645" y="718604"/>
            <a:ext cx="1949513" cy="5502202"/>
            <a:chOff x="-70815" y="570751"/>
            <a:chExt cx="1949513" cy="5502202"/>
          </a:xfrm>
        </p:grpSpPr>
        <p:sp>
          <p:nvSpPr>
            <p:cNvPr id="3" name="Rectangle 2"/>
            <p:cNvSpPr/>
            <p:nvPr/>
          </p:nvSpPr>
          <p:spPr bwMode="auto">
            <a:xfrm>
              <a:off x="-70815" y="576721"/>
              <a:ext cx="1949513" cy="549623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GB" sz="900">
                <a:solidFill>
                  <a:schemeClr val="tx1"/>
                </a:solidFill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-46168" y="570751"/>
              <a:ext cx="18982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GB" sz="12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7539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rers in Croyd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21630" y="819895"/>
            <a:ext cx="11157084" cy="4179888"/>
          </a:xfrm>
        </p:spPr>
        <p:txBody>
          <a:bodyPr/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33,683 Carers (2011 census) – 10% of population (equating to 35,000 using latest population data)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Carers save the local economy an estimated £654 million per year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19,000 Carers are in employment, (of which over 2,000 are in employment and provide more than 50 hours of unpaid care per week)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Gender split: 14,700 male / 20,300 female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74% of Carers in Croydon live with the person that they provide support for and many of them have their own health condition. 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48%</a:t>
            </a:r>
            <a:r>
              <a:rPr lang="en-US" sz="2200" baseline="30000" dirty="0"/>
              <a:t>1</a:t>
            </a:r>
            <a:r>
              <a:rPr lang="en-US" sz="2200" dirty="0"/>
              <a:t> of Carers are supporting someone with a physical disability, 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29%</a:t>
            </a:r>
            <a:r>
              <a:rPr lang="en-US" sz="2200" baseline="30000" dirty="0"/>
              <a:t>1</a:t>
            </a:r>
            <a:r>
              <a:rPr lang="en-US" sz="2200" dirty="0"/>
              <a:t> are supporting someone with a learning disability, 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29%</a:t>
            </a:r>
            <a:r>
              <a:rPr lang="en-US" sz="2200" baseline="30000" dirty="0"/>
              <a:t>1</a:t>
            </a:r>
            <a:r>
              <a:rPr lang="en-US" sz="2200" dirty="0"/>
              <a:t> are supporting someone with a dementia, 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30%</a:t>
            </a:r>
            <a:r>
              <a:rPr lang="en-US" sz="2200" baseline="30000" dirty="0"/>
              <a:t>1</a:t>
            </a:r>
            <a:r>
              <a:rPr lang="en-US" sz="2200" dirty="0"/>
              <a:t> are supporting someone with age related illnesses </a:t>
            </a:r>
            <a:endParaRPr lang="en-GB" sz="2200" dirty="0"/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US" sz="2200" dirty="0"/>
              <a:t>26%</a:t>
            </a:r>
            <a:r>
              <a:rPr lang="en-US" sz="2200" baseline="30000" dirty="0"/>
              <a:t>1</a:t>
            </a:r>
            <a:r>
              <a:rPr lang="en-US" sz="2200" dirty="0"/>
              <a:t> of Carers are supporting someone with a mental health problem. (NHS Digital, 2017). </a:t>
            </a:r>
            <a:endParaRPr lang="en-GB" sz="22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798444" y="6211957"/>
            <a:ext cx="98662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1"/>
                </a:solidFill>
              </a:rPr>
              <a:t>1. Number do not add up to 100 as people may fit into more than one category. 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419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act of caring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402" y="474466"/>
            <a:ext cx="5910942" cy="6318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643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rers Strategy 2018 – 2022 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Coproduced with 239 carers &amp; professionals</a:t>
            </a:r>
          </a:p>
          <a:p>
            <a:r>
              <a:rPr lang="en-GB" dirty="0" smtClean="0"/>
              <a:t>Linked to the themes of VCS &amp; Opportunity &amp; Fairness Commission</a:t>
            </a:r>
          </a:p>
          <a:p>
            <a:r>
              <a:rPr lang="en-GB" dirty="0" smtClean="0"/>
              <a:t>Contains info: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 smtClean="0"/>
              <a:t>Outcom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 smtClean="0"/>
              <a:t>measurement metric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 smtClean="0"/>
              <a:t>what success looks lik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dirty="0" smtClean="0"/>
              <a:t>what we need to do to support carers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082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ing the new ways of work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246" y="1143617"/>
            <a:ext cx="10971532" cy="5180983"/>
          </a:xfrm>
        </p:spPr>
        <p:txBody>
          <a:bodyPr/>
          <a:lstStyle/>
          <a:p>
            <a:r>
              <a:rPr lang="en-GB" b="1" dirty="0"/>
              <a:t>Croydon One Alliance – The Integrated Care Network </a:t>
            </a:r>
            <a:r>
              <a:rPr lang="en-GB" b="1" dirty="0" smtClean="0"/>
              <a:t>Plus</a:t>
            </a:r>
          </a:p>
          <a:p>
            <a:pPr lvl="1"/>
            <a:r>
              <a:rPr lang="en-GB" dirty="0"/>
              <a:t>Make sure local people have access to integrated services that are tailored to the needs of local communities.</a:t>
            </a:r>
          </a:p>
          <a:p>
            <a:pPr lvl="1"/>
            <a:r>
              <a:rPr lang="en-GB" dirty="0"/>
              <a:t>Keep people well and out of hospital. </a:t>
            </a:r>
          </a:p>
          <a:p>
            <a:pPr lvl="1"/>
            <a:r>
              <a:rPr lang="en-GB" dirty="0"/>
              <a:t>Local people have access to services, closer to home, wherever they live in the borough. </a:t>
            </a:r>
          </a:p>
          <a:p>
            <a:pPr lvl="1"/>
            <a:r>
              <a:rPr lang="en-GB" dirty="0"/>
              <a:t>Services to be accessible and responsive to their individual needs. </a:t>
            </a:r>
          </a:p>
          <a:p>
            <a:r>
              <a:rPr lang="en-GB" sz="2800" b="1" dirty="0"/>
              <a:t>Community Led Support </a:t>
            </a:r>
          </a:p>
          <a:p>
            <a:pPr lvl="1"/>
            <a:r>
              <a:rPr lang="en-GB" sz="2514" dirty="0"/>
              <a:t>A strengths based approach to social care is embedded the Care Act 2014 under the wellbeing principle</a:t>
            </a:r>
            <a:r>
              <a:rPr lang="en-GB" sz="2514" dirty="0" smtClean="0"/>
              <a:t>.</a:t>
            </a:r>
          </a:p>
          <a:p>
            <a:pPr lvl="1"/>
            <a:r>
              <a:rPr lang="en-GB" sz="2514" dirty="0" smtClean="0"/>
              <a:t>Work with </a:t>
            </a:r>
            <a:r>
              <a:rPr lang="en-GB" dirty="0"/>
              <a:t>National Development Team for </a:t>
            </a:r>
            <a:r>
              <a:rPr lang="en-GB" dirty="0" smtClean="0"/>
              <a:t>Inclusion </a:t>
            </a:r>
            <a:r>
              <a:rPr lang="en-GB" dirty="0"/>
              <a:t>(</a:t>
            </a:r>
            <a:r>
              <a:rPr lang="en-GB" dirty="0" err="1"/>
              <a:t>NDTi</a:t>
            </a:r>
            <a:r>
              <a:rPr lang="en-GB" dirty="0" smtClean="0"/>
              <a:t>) who are working with Croydon to embed this approach 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170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ing the service specification </a:t>
            </a:r>
            <a:endParaRPr lang="en-GB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80942967"/>
              </p:ext>
            </p:extLst>
          </p:nvPr>
        </p:nvGraphicFramePr>
        <p:xfrm>
          <a:off x="251790" y="948267"/>
          <a:ext cx="934940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60603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AE&quot; g=&quot;33&quot; b=&quot;A2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5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9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BC Template" id="{ABA1333A-6A28-4FE0-942C-F5BFB0DE3E38}" vid="{FBBBD265-CD08-468B-B21B-A189A6EB5C8B}"/>
    </a:ext>
  </a:extLst>
</a:theme>
</file>

<file path=ppt/theme/theme11.xml><?xml version="1.0" encoding="utf-8"?>
<a:theme xmlns:a="http://schemas.openxmlformats.org/drawingml/2006/main" name="4_Custom Desig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7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EY2" id="{44806BBA-5580-BB43-B1DE-7F23F99D9931}" vid="{18CA949C-26AC-E348-918B-FF5958BFF2B9}"/>
    </a:ext>
  </a:extLst>
</a:theme>
</file>

<file path=ppt/theme/theme5.xml><?xml version="1.0" encoding="utf-8"?>
<a:theme xmlns:a="http://schemas.openxmlformats.org/drawingml/2006/main" name="3_Custom Desig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8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1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6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7_Custom Design">
  <a:themeElements>
    <a:clrScheme name="Angles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1_Custom Desig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sz="9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  <a:ea typeface="ＭＳ Ｐゴシック" pitchFamily="34" charset="-128"/>
          </a:defRPr>
        </a:defPPr>
      </a:lstStyle>
    </a:lnDef>
  </a:objectDefaults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haredContentType xmlns="Microsoft.SharePoint.Taxonomy.ContentTypeSync" SourceId="c265c3e7-f7ae-4ea0-b3f5-7c0024770d98" ContentTypeId="0x0101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1c2f45cb913413195fefa0ed1a24d84 xmlns="f2b78acb-a125-42ee-931d-35b42eaca4cf">
      <Terms xmlns="http://schemas.microsoft.com/office/infopath/2007/PartnerControls"/>
    </l1c2f45cb913413195fefa0ed1a24d84>
    <TaxCatchAll xmlns="f2b78acb-a125-42ee-931d-35b42eaca4cf">
      <Value>83</Value>
    </TaxCatchAll>
    <febcb389c47c4530afe6acfa103de16c xmlns="f2b78acb-a125-42ee-931d-35b42eaca4cf">
      <Terms xmlns="http://schemas.microsoft.com/office/infopath/2007/PartnerControls">
        <TermInfo xmlns="http://schemas.microsoft.com/office/infopath/2007/PartnerControls">
          <TermName xmlns="http://schemas.microsoft.com/office/infopath/2007/PartnerControls">Strategy and Partnerships</TermName>
          <TermId xmlns="http://schemas.microsoft.com/office/infopath/2007/PartnerControls">547d68c9-08f2-4876-b7c8-a287dd110a63</TermId>
        </TermInfo>
      </Terms>
    </febcb389c47c4530afe6acfa103de16c>
    <ProtectiveClassification xmlns="f2b78acb-a125-42ee-931d-35b42eaca4cf">NOT CLASSIFIED</ProtectiveClassification>
    <DocumentAuthor xmlns="f2b78acb-a125-42ee-931d-35b42eaca4cf">
      <UserInfo>
        <DisplayName>Leigh, Warren</DisplayName>
        <AccountId>508</AccountId>
        <AccountType/>
      </UserInfo>
    </DocumentAuthor>
    <TaxKeywordTaxHTField xmlns="f2b78acb-a125-42ee-931d-35b42eaca4cf">
      <Terms xmlns="http://schemas.microsoft.com/office/infopath/2007/PartnerControls"/>
    </TaxKeywordTaxHTField>
    <Document_x0020_Description xmlns="f2b78acb-a125-42ee-931d-35b42eaca4cf" xsi:nil="true"/>
  </documentManagement>
</p:properties>
</file>

<file path=customXml/item3.xml><?xml version="1.0" encoding="utf-8"?>
<LongProperties xmlns="http://schemas.microsoft.com/office/2006/metadata/longPropertie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007F09F240E7469BE5A4A2B7799436" ma:contentTypeVersion="11" ma:contentTypeDescription="Create a new document." ma:contentTypeScope="" ma:versionID="5ade5376103412179e3446bcdf344ccc">
  <xsd:schema xmlns:xsd="http://www.w3.org/2001/XMLSchema" xmlns:xs="http://www.w3.org/2001/XMLSchema" xmlns:p="http://schemas.microsoft.com/office/2006/metadata/properties" xmlns:ns2="f2b78acb-a125-42ee-931d-35b42eaca4cf" xmlns:ns3="71ea4d86-c099-4d84-b792-f477f57ea66c" xmlns:ns4="0ff508a1-0459-4ed2-b644-988d65495ae1" targetNamespace="http://schemas.microsoft.com/office/2006/metadata/properties" ma:root="true" ma:fieldsID="423af1985faf833b63161587ad18ceaa" ns2:_="" ns3:_="" ns4:_="">
    <xsd:import namespace="f2b78acb-a125-42ee-931d-35b42eaca4cf"/>
    <xsd:import namespace="71ea4d86-c099-4d84-b792-f477f57ea66c"/>
    <xsd:import namespace="0ff508a1-0459-4ed2-b644-988d65495ae1"/>
    <xsd:element name="properties">
      <xsd:complexType>
        <xsd:sequence>
          <xsd:element name="documentManagement">
            <xsd:complexType>
              <xsd:all>
                <xsd:element ref="ns2:Document_x0020_Description" minOccurs="0"/>
                <xsd:element ref="ns2:DocumentAuthor" minOccurs="0"/>
                <xsd:element ref="ns2:ProtectiveClassification" minOccurs="0"/>
                <xsd:element ref="ns2:febcb389c47c4530afe6acfa103de16c" minOccurs="0"/>
                <xsd:element ref="ns2:TaxCatchAll" minOccurs="0"/>
                <xsd:element ref="ns2:TaxCatchAllLabel" minOccurs="0"/>
                <xsd:element ref="ns2:l1c2f45cb913413195fefa0ed1a24d84" minOccurs="0"/>
                <xsd:element ref="ns2:TaxKeywordTaxHTField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AutoTags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b78acb-a125-42ee-931d-35b42eaca4cf" elementFormDefault="qualified">
    <xsd:import namespace="http://schemas.microsoft.com/office/2006/documentManagement/types"/>
    <xsd:import namespace="http://schemas.microsoft.com/office/infopath/2007/PartnerControls"/>
    <xsd:element name="Document_x0020_Description" ma:index="8" nillable="true" ma:displayName="Document Description" ma:internalName="Document_x0020_Description">
      <xsd:simpleType>
        <xsd:restriction base="dms:Note">
          <xsd:maxLength value="255"/>
        </xsd:restriction>
      </xsd:simpleType>
    </xsd:element>
    <xsd:element name="DocumentAuthor" ma:index="9" nillable="true" ma:displayName="Primary Contact" ma:list="UserInfo" ma:SearchPeopleOnly="false" ma:SharePointGroup="0" ma:internalName="Document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ProtectiveClassification" ma:index="10" nillable="true" ma:displayName="Protective Marking" ma:default="NOT CLASSIFIED" ma:description="Protective Marking scheme for LBC is being reviewed and will be available at a later date. NOT CLASSIFIED means that no Protective Marking decision has been made." ma:format="Dropdown" ma:internalName="ProtectiveClassification">
      <xsd:simpleType>
        <xsd:restriction base="dms:Choice">
          <xsd:enumeration value="NOT CLASSIFIED"/>
        </xsd:restriction>
      </xsd:simpleType>
    </xsd:element>
    <xsd:element name="febcb389c47c4530afe6acfa103de16c" ma:index="11" nillable="true" ma:taxonomy="true" ma:internalName="febcb389c47c4530afe6acfa103de16c" ma:taxonomyFieldName="OrganisationalUnit" ma:displayName="Organisational Unit" ma:default="" ma:fieldId="{febcb389-c47c-4530-afe6-acfa103de16c}" ma:sspId="c265c3e7-f7ae-4ea0-b3f5-7c0024770d98" ma:termSetId="21787c9d-e40d-4e47-be76-3b424c150f9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fd2dc191-4db6-4f28-9c71-bd4ae0d0e660}" ma:internalName="TaxCatchAll" ma:showField="CatchAllData" ma:web="0ff508a1-0459-4ed2-b644-988d65495a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fd2dc191-4db6-4f28-9c71-bd4ae0d0e660}" ma:internalName="TaxCatchAllLabel" ma:readOnly="true" ma:showField="CatchAllDataLabel" ma:web="0ff508a1-0459-4ed2-b644-988d65495a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1c2f45cb913413195fefa0ed1a24d84" ma:index="15" nillable="true" ma:taxonomy="true" ma:internalName="l1c2f45cb913413195fefa0ed1a24d84" ma:taxonomyFieldName="Activity" ma:displayName="Activity" ma:fieldId="{51c2f45c-b913-4131-95fe-fa0ed1a24d84}" ma:sspId="c265c3e7-f7ae-4ea0-b3f5-7c0024770d98" ma:termSetId="753275df-fc85-4ec7-8f6d-defd1dbad5d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c265c3e7-f7ae-4ea0-b3f5-7c0024770d9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ea4d86-c099-4d84-b792-f477f57ea66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23" nillable="true" ma:displayName="Tags" ma:internalName="MediaServiceAutoTags" ma:readOnly="true">
      <xsd:simpleType>
        <xsd:restriction base="dms:Text"/>
      </xsd:simpleType>
    </xsd:element>
    <xsd:element name="MediaServiceOCR" ma:index="2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5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f508a1-0459-4ed2-b644-988d65495ae1" elementFormDefault="qualified">
    <xsd:import namespace="http://schemas.microsoft.com/office/2006/documentManagement/types"/>
    <xsd:import namespace="http://schemas.microsoft.com/office/infopath/2007/PartnerControls"/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C96D334-5B00-4561-B28C-4DB377BA08B5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A0CE3841-5741-4B4C-A02D-C95D4804BDC0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0ff508a1-0459-4ed2-b644-988d65495ae1"/>
    <ds:schemaRef ds:uri="71ea4d86-c099-4d84-b792-f477f57ea66c"/>
    <ds:schemaRef ds:uri="http://purl.org/dc/elements/1.1/"/>
    <ds:schemaRef ds:uri="f2b78acb-a125-42ee-931d-35b42eaca4c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87F40B8-AB47-4FDF-9014-C5AD8A945294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18DD915F-2FC0-40C8-8D53-9B1E404A5F0C}">
  <ds:schemaRefs>
    <ds:schemaRef ds:uri="0ff508a1-0459-4ed2-b644-988d65495ae1"/>
    <ds:schemaRef ds:uri="71ea4d86-c099-4d84-b792-f477f57ea66c"/>
    <ds:schemaRef ds:uri="f2b78acb-a125-42ee-931d-35b42eaca4c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BC0D4E3A-A652-48F2-92E5-5BDC4512B3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colour_with tag</Template>
  <TotalTime>9392</TotalTime>
  <Words>1385</Words>
  <Application>Microsoft Office PowerPoint</Application>
  <PresentationFormat>Widescreen</PresentationFormat>
  <Paragraphs>239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MS PGothic</vt:lpstr>
      <vt:lpstr>MS PGothic</vt:lpstr>
      <vt:lpstr>Arial</vt:lpstr>
      <vt:lpstr>Calibri</vt:lpstr>
      <vt:lpstr>Lato</vt:lpstr>
      <vt:lpstr>Lato Black</vt:lpstr>
      <vt:lpstr>Times New Roman</vt:lpstr>
      <vt:lpstr>Wingdings</vt:lpstr>
      <vt:lpstr>Yrsa</vt:lpstr>
      <vt:lpstr>ヒラギノ角ゴ Pro W3</vt:lpstr>
      <vt:lpstr>25_Custom Design</vt:lpstr>
      <vt:lpstr>26_Custom Design</vt:lpstr>
      <vt:lpstr>27_Custom Design</vt:lpstr>
      <vt:lpstr>EY light projection</vt:lpstr>
      <vt:lpstr>3_Custom Design</vt:lpstr>
      <vt:lpstr>28_Custom Design</vt:lpstr>
      <vt:lpstr>31_Custom Design</vt:lpstr>
      <vt:lpstr>36_Custom Design</vt:lpstr>
      <vt:lpstr>37_Custom Design</vt:lpstr>
      <vt:lpstr>29_Custom Design</vt:lpstr>
      <vt:lpstr>4_Custom Design</vt:lpstr>
      <vt:lpstr>think-cell Slide</vt:lpstr>
      <vt:lpstr>Carer Assessment, Information, Advice &amp; Support Services Tender Process     </vt:lpstr>
      <vt:lpstr>Agenda</vt:lpstr>
      <vt:lpstr>Why have we adopted a VCS Strategy?</vt:lpstr>
      <vt:lpstr> </vt:lpstr>
      <vt:lpstr>Carers in Croydon</vt:lpstr>
      <vt:lpstr>Impact of caring</vt:lpstr>
      <vt:lpstr>Carers Strategy 2018 – 2022 </vt:lpstr>
      <vt:lpstr>Supporting the new ways of working</vt:lpstr>
      <vt:lpstr>Developing the service specification </vt:lpstr>
      <vt:lpstr>Carer Support Services: Aims</vt:lpstr>
      <vt:lpstr>Carer Assessment, Information, Advice &amp; Support Services: 1. Outputs</vt:lpstr>
      <vt:lpstr>Carer Assessment, Information, Advice &amp; Support Services: 2. Outcomes</vt:lpstr>
      <vt:lpstr>Carer Assessment, Information, Advice &amp; Support Services Tender – Timetable</vt:lpstr>
      <vt:lpstr>Tender Process- What you need to complete</vt:lpstr>
      <vt:lpstr>Tender Process- What you need to complete</vt:lpstr>
      <vt:lpstr>Tender Process- What to do during the tender period</vt:lpstr>
      <vt:lpstr>PowerPoint Presentation</vt:lpstr>
      <vt:lpstr>Presentation Title Presented by John Smith     </vt:lpstr>
    </vt:vector>
  </TitlesOfParts>
  <Company>Tribal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rd Sector Commissioning Strategy</dc:title>
  <dc:creator>Rahul Rana</dc:creator>
  <cp:keywords/>
  <cp:lastModifiedBy>Bahooshy, Stephen</cp:lastModifiedBy>
  <cp:revision>111</cp:revision>
  <cp:lastPrinted>2019-07-05T07:45:28Z</cp:lastPrinted>
  <dcterms:created xsi:type="dcterms:W3CDTF">2009-12-24T08:08:40Z</dcterms:created>
  <dcterms:modified xsi:type="dcterms:W3CDTF">2019-07-05T16:5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007F09F240E7469BE5A4A2B7799436</vt:lpwstr>
  </property>
  <property fmtid="{D5CDD505-2E9C-101B-9397-08002B2CF9AE}" pid="3" name="TaxKeywordTaxHTField">
    <vt:lpwstr/>
  </property>
  <property fmtid="{D5CDD505-2E9C-101B-9397-08002B2CF9AE}" pid="4" name="OrganisationalUnit">
    <vt:lpwstr>83;#Strategy and Partnerships|547d68c9-08f2-4876-b7c8-a287dd110a63</vt:lpwstr>
  </property>
  <property fmtid="{D5CDD505-2E9C-101B-9397-08002B2CF9AE}" pid="5" name="TaxKeyword">
    <vt:lpwstr/>
  </property>
  <property fmtid="{D5CDD505-2E9C-101B-9397-08002B2CF9AE}" pid="6" name="display_urn:schemas-microsoft-com:office:office#DocumentAuthor">
    <vt:lpwstr>Fisher, Marsha</vt:lpwstr>
  </property>
  <property fmtid="{D5CDD505-2E9C-101B-9397-08002B2CF9AE}" pid="7" name="Document Type">
    <vt:lpwstr>1399;#Presentations|e45ddabe-8316-43ca-9248-2abf3c599c57</vt:lpwstr>
  </property>
  <property fmtid="{D5CDD505-2E9C-101B-9397-08002B2CF9AE}" pid="8" name="Activity">
    <vt:lpwstr/>
  </property>
</Properties>
</file>